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2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1.xml" ContentType="application/vnd.openxmlformats-officedocument.presentationml.notesSlide+xml"/>
  <Override PartName="/ppt/tags/tag124.xml" ContentType="application/vnd.openxmlformats-officedocument.presentationml.tags+xml"/>
  <Override PartName="/ppt/notesSlides/notesSlide2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2.xml" ContentType="application/vnd.openxmlformats-officedocument.drawingml.chart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6.xml" ContentType="application/vnd.openxmlformats-officedocument.drawingml.chart+xml"/>
  <Override PartName="/ppt/notesSlides/notesSlide1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10" r:id="rId5"/>
  </p:sldMasterIdLst>
  <p:notesMasterIdLst>
    <p:notesMasterId r:id="rId19"/>
  </p:notesMasterIdLst>
  <p:handoutMasterIdLst>
    <p:handoutMasterId r:id="rId20"/>
  </p:handoutMasterIdLst>
  <p:sldIdLst>
    <p:sldId id="270" r:id="rId6"/>
    <p:sldId id="2146849330" r:id="rId7"/>
    <p:sldId id="2146848986" r:id="rId8"/>
    <p:sldId id="2146849326" r:id="rId9"/>
    <p:sldId id="2146849309" r:id="rId10"/>
    <p:sldId id="2146849325" r:id="rId11"/>
    <p:sldId id="2146849287" r:id="rId12"/>
    <p:sldId id="2146849305" r:id="rId13"/>
    <p:sldId id="2146849306" r:id="rId14"/>
    <p:sldId id="2146849307" r:id="rId15"/>
    <p:sldId id="2146849313" r:id="rId16"/>
    <p:sldId id="2146849337" r:id="rId17"/>
    <p:sldId id="2146849255" r:id="rId18"/>
  </p:sldIdLst>
  <p:sldSz cx="12192000" cy="6858000"/>
  <p:notesSz cx="6669088" cy="9926638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796EEB8-4F10-4320-A65A-DB2A5B5B9AE5}">
          <p14:sldIdLst>
            <p14:sldId id="270"/>
          </p14:sldIdLst>
        </p14:section>
        <p14:section name="Introduktion" id="{82BFDB00-7ECD-4FE3-A412-D4A3202F5C25}">
          <p14:sldIdLst>
            <p14:sldId id="2146849330"/>
            <p14:sldId id="2146848986"/>
          </p14:sldIdLst>
        </p14:section>
        <p14:section name="Aarhus Havn - Status quo" id="{56EA6DAC-2F04-4DD0-8898-0DB3301268FD}">
          <p14:sldIdLst>
            <p14:sldId id="2146849326"/>
            <p14:sldId id="2146849309"/>
          </p14:sldIdLst>
        </p14:section>
        <p14:section name="Behovsanalyse" id="{35A7D3AF-90BE-4139-A456-81B18E480FC5}">
          <p14:sldIdLst>
            <p14:sldId id="2146849325"/>
            <p14:sldId id="2146849287"/>
            <p14:sldId id="2146849305"/>
            <p14:sldId id="2146849306"/>
            <p14:sldId id="2146849307"/>
            <p14:sldId id="2146849313"/>
            <p14:sldId id="2146849337"/>
            <p14:sldId id="2146849255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28" userDrawn="1">
          <p15:clr>
            <a:srgbClr val="A4A3A4"/>
          </p15:clr>
        </p15:guide>
        <p15:guide id="5" orient="horz" pos="1389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7" pos="5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EE2C13B-E317-97BA-7085-B392711AF329}" name="Nicholaj Buhl" initials="NB" userId="S::NJBL@ramboll.com::08e42291-609d-4ab1-aad4-e2da24fbf1d4" providerId="AD"/>
  <p188:author id="{948DE99F-5550-BE92-7FAB-4BD8B217B52E}" name="Leif Laszlo Haaning" initials="LH" userId="S::lelh@ramboll.com::90d4d2f3-8494-4c53-ba43-c5b4073ff32f" providerId="AD"/>
  <p188:author id="{264EC8A8-E058-54FF-5A09-92B9A1819DA4}" name="Thomas Kræmer Schmidt" initials="TKS" userId="S::THS@ramboll.com::13d5abf2-e3a0-4d08-ac26-e6a6e99c3452" providerId="AD"/>
  <p188:author id="{960F99B6-1E84-9066-C6BB-201E3B184AF8}" name="Tine Scharf" initials="TS" userId="S::tiaa@ramboll.com::9aada4fa-8b23-4e3d-8945-725d8f329171" providerId="AD"/>
  <p188:author id="{AA8374D6-5DCE-108D-1993-C9C88361671C}" name="Roman Graber" initials="RG" userId="S::roman@ramboll.com::e7a42ee2-cd72-49c0-87d1-dbb2da1652f7" providerId="AD"/>
  <p188:author id="{501129F0-DEB2-6C3F-C297-05148D2E7F3E}" name="Astrid Bugge" initials="AB" userId="S::asbu@ramboll.com::60b6e490-ce18-4aa9-a479-b1db6e91d59a" providerId="AD"/>
  <p188:author id="{B0BC76FB-EDF4-0397-645B-58A8F378A727}" name="Karoline Karlsson" initials="KK" userId="S::KSKN@ramboll.com::bf1a0472-16df-44b9-b263-814c0f6d398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Julia Hoffmeister" initials="JH" lastIdx="34" clrIdx="6">
    <p:extLst>
      <p:ext uri="{19B8F6BF-5375-455C-9EA6-DF929625EA0E}">
        <p15:presenceInfo xmlns:p15="http://schemas.microsoft.com/office/powerpoint/2012/main" userId="S::julia.hoffmeister@ramboll.com::8a1bacb8-200e-449d-9370-a4361a783098" providerId="AD"/>
      </p:ext>
    </p:extLst>
  </p:cmAuthor>
  <p:cmAuthor id="1" name="Martin Wenstrup" initials="MW" lastIdx="50" clrIdx="0">
    <p:extLst>
      <p:ext uri="{19B8F6BF-5375-455C-9EA6-DF929625EA0E}">
        <p15:presenceInfo xmlns:p15="http://schemas.microsoft.com/office/powerpoint/2012/main" userId="S::MEWP@ramboll.com::eb5e3a50-12cc-414c-bf80-53ccfd0d72b1" providerId="AD"/>
      </p:ext>
    </p:extLst>
  </p:cmAuthor>
  <p:cmAuthor id="8" name="Roman Graber" initials="RG" lastIdx="31" clrIdx="7">
    <p:extLst>
      <p:ext uri="{19B8F6BF-5375-455C-9EA6-DF929625EA0E}">
        <p15:presenceInfo xmlns:p15="http://schemas.microsoft.com/office/powerpoint/2012/main" userId="S::roman@ramboll.com::e7a42ee2-cd72-49c0-87d1-dbb2da1652f7" providerId="AD"/>
      </p:ext>
    </p:extLst>
  </p:cmAuthor>
  <p:cmAuthor id="2" name="Pia Lotta Straub" initials="PLS" lastIdx="7" clrIdx="1">
    <p:extLst>
      <p:ext uri="{19B8F6BF-5375-455C-9EA6-DF929625EA0E}">
        <p15:presenceInfo xmlns:p15="http://schemas.microsoft.com/office/powerpoint/2012/main" userId="S::PLSB@ramboll.com::78274fda-e595-477d-a52d-c6f318dc3e45" providerId="AD"/>
      </p:ext>
    </p:extLst>
  </p:cmAuthor>
  <p:cmAuthor id="9" name="Hildur María Hólmarsdóttir" initials="HMH" lastIdx="16" clrIdx="8">
    <p:extLst>
      <p:ext uri="{19B8F6BF-5375-455C-9EA6-DF929625EA0E}">
        <p15:presenceInfo xmlns:p15="http://schemas.microsoft.com/office/powerpoint/2012/main" userId="S::HMHR@Ramboll.com::fdb575c2-a242-4c9e-a06d-a51ec9e06798" providerId="AD"/>
      </p:ext>
    </p:extLst>
  </p:cmAuthor>
  <p:cmAuthor id="3" name="Mette Kerstine Lauritsen" initials="MKL" lastIdx="7" clrIdx="2">
    <p:extLst>
      <p:ext uri="{19B8F6BF-5375-455C-9EA6-DF929625EA0E}">
        <p15:presenceInfo xmlns:p15="http://schemas.microsoft.com/office/powerpoint/2012/main" userId="S::meke@ramboll.com::5a4bac21-6633-4c42-a84e-2c69a2b55140" providerId="AD"/>
      </p:ext>
    </p:extLst>
  </p:cmAuthor>
  <p:cmAuthor id="10" name="Tine Scharf" initials="TS" lastIdx="70" clrIdx="9">
    <p:extLst>
      <p:ext uri="{19B8F6BF-5375-455C-9EA6-DF929625EA0E}">
        <p15:presenceInfo xmlns:p15="http://schemas.microsoft.com/office/powerpoint/2012/main" userId="S::tiaa@ramboll.com::9aada4fa-8b23-4e3d-8945-725d8f329171" providerId="AD"/>
      </p:ext>
    </p:extLst>
  </p:cmAuthor>
  <p:cmAuthor id="4" name="Laura Bowler" initials="LB" lastIdx="5" clrIdx="3">
    <p:extLst>
      <p:ext uri="{19B8F6BF-5375-455C-9EA6-DF929625EA0E}">
        <p15:presenceInfo xmlns:p15="http://schemas.microsoft.com/office/powerpoint/2012/main" userId="S::Lbowler@ramboll.com::bfb2655b-1fc3-4e59-9811-a63d2123e0b5" providerId="AD"/>
      </p:ext>
    </p:extLst>
  </p:cmAuthor>
  <p:cmAuthor id="11" name="Elisabeth Vestergaard Nielsen" initials="EVN" lastIdx="1" clrIdx="10">
    <p:extLst>
      <p:ext uri="{19B8F6BF-5375-455C-9EA6-DF929625EA0E}">
        <p15:presenceInfo xmlns:p15="http://schemas.microsoft.com/office/powerpoint/2012/main" userId="S::ELVN@ramboll.com::181feace-b123-4020-930c-245aac8b3547" providerId="AD"/>
      </p:ext>
    </p:extLst>
  </p:cmAuthor>
  <p:cmAuthor id="5" name="Emil Harbo Falkenhard" initials="EHF" lastIdx="1" clrIdx="4">
    <p:extLst>
      <p:ext uri="{19B8F6BF-5375-455C-9EA6-DF929625EA0E}">
        <p15:presenceInfo xmlns:p15="http://schemas.microsoft.com/office/powerpoint/2012/main" userId="S::EHF@ramboll.com::99559d3a-0e22-4d77-ac02-e968dd9af15e" providerId="AD"/>
      </p:ext>
    </p:extLst>
  </p:cmAuthor>
  <p:cmAuthor id="6" name="Casper Gandil Qvortrup" initials="CGQ" lastIdx="27" clrIdx="5">
    <p:extLst>
      <p:ext uri="{19B8F6BF-5375-455C-9EA6-DF929625EA0E}">
        <p15:presenceInfo xmlns:p15="http://schemas.microsoft.com/office/powerpoint/2012/main" userId="S::cgq@ramboll.com::e237a179-934d-4b6a-be26-7307b333c1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E3E1D8"/>
    <a:srgbClr val="009DF0"/>
    <a:srgbClr val="C9ECFF"/>
    <a:srgbClr val="B98755"/>
    <a:srgbClr val="CCEBFD"/>
    <a:srgbClr val="ADD095"/>
    <a:srgbClr val="125A40"/>
    <a:srgbClr val="05326E"/>
    <a:srgbClr val="FF0000"/>
    <a:srgbClr val="BA88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8486" autoAdjust="0"/>
  </p:normalViewPr>
  <p:slideViewPr>
    <p:cSldViewPr snapToGrid="0">
      <p:cViewPr varScale="1">
        <p:scale>
          <a:sx n="33" d="100"/>
          <a:sy n="33" d="100"/>
        </p:scale>
        <p:origin x="1122" y="42"/>
      </p:cViewPr>
      <p:guideLst>
        <p:guide orient="horz" pos="28"/>
        <p:guide orient="horz" pos="1389"/>
        <p:guide pos="3840"/>
        <p:guide pos="50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449961802902976E-3"/>
          <c:y val="6.205250596658711E-2"/>
          <c:w val="0.98411000763941936"/>
          <c:h val="0.8758949880668257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653-4211-8DA5-971CC24B6AC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653-4211-8DA5-971CC24B6AC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653-4211-8DA5-971CC24B6AC3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1684217</c:v>
                </c:pt>
                <c:pt idx="1">
                  <c:v>1684217</c:v>
                </c:pt>
                <c:pt idx="2">
                  <c:v>1758529</c:v>
                </c:pt>
                <c:pt idx="3">
                  <c:v>1861166.5</c:v>
                </c:pt>
                <c:pt idx="4">
                  <c:v>1941262.5</c:v>
                </c:pt>
                <c:pt idx="5">
                  <c:v>2043900</c:v>
                </c:pt>
                <c:pt idx="6">
                  <c:v>2043900</c:v>
                </c:pt>
                <c:pt idx="7">
                  <c:v>2825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653-4211-8DA5-971CC24B6AC3}"/>
            </c:ext>
          </c:extLst>
        </c:ser>
        <c:ser>
          <c:idx val="1"/>
          <c:order val="1"/>
          <c:spPr>
            <a:solidFill>
              <a:schemeClr val="tx2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653-4211-8DA5-971CC24B6AC3}"/>
              </c:ext>
            </c:extLst>
          </c:dPt>
          <c:val>
            <c:numRef>
              <c:f>Sheet1!$A$2:$H$2</c:f>
              <c:numCache>
                <c:formatCode>General</c:formatCode>
                <c:ptCount val="8"/>
                <c:pt idx="1">
                  <c:v>74312</c:v>
                </c:pt>
                <c:pt idx="2">
                  <c:v>102637.5</c:v>
                </c:pt>
                <c:pt idx="3">
                  <c:v>80096</c:v>
                </c:pt>
                <c:pt idx="4">
                  <c:v>102637.5</c:v>
                </c:pt>
                <c:pt idx="6">
                  <c:v>781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653-4211-8DA5-971CC24B6A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1575500608"/>
        <c:axId val="1"/>
      </c:barChart>
      <c:catAx>
        <c:axId val="1575500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da-DK"/>
          </a:p>
        </c:txPr>
        <c:crossAx val="1575500608"/>
        <c:crosses val="min"/>
        <c:crossBetween val="between"/>
        <c:majorUnit val="1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868873492430075E-2"/>
          <c:y val="2.3412877082395318E-2"/>
          <c:w val="0.87426225301513982"/>
          <c:h val="0.87032868077442593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2:$AO$2</c:f>
              <c:numCache>
                <c:formatCode>General</c:formatCode>
                <c:ptCount val="41"/>
                <c:pt idx="0">
                  <c:v>176.49972987574256</c:v>
                </c:pt>
                <c:pt idx="1">
                  <c:v>85.49972987574256</c:v>
                </c:pt>
                <c:pt idx="2">
                  <c:v>305.49972987574256</c:v>
                </c:pt>
                <c:pt idx="3">
                  <c:v>305.49972987574256</c:v>
                </c:pt>
                <c:pt idx="4">
                  <c:v>305.49972987574256</c:v>
                </c:pt>
                <c:pt idx="5">
                  <c:v>530.49972987574256</c:v>
                </c:pt>
                <c:pt idx="6">
                  <c:v>728.49972987574256</c:v>
                </c:pt>
                <c:pt idx="7">
                  <c:v>525.49972987574256</c:v>
                </c:pt>
                <c:pt idx="8">
                  <c:v>321.49972987574256</c:v>
                </c:pt>
                <c:pt idx="9">
                  <c:v>428.49972987574256</c:v>
                </c:pt>
                <c:pt idx="10">
                  <c:v>455.1958236985356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1F5-443A-B501-89419A8736CC}"/>
            </c:ext>
          </c:extLst>
        </c:ser>
        <c:ser>
          <c:idx val="1"/>
          <c:order val="1"/>
          <c:spPr>
            <a:ln w="38100" algn="ctr">
              <a:solidFill>
                <a:srgbClr val="009DF0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3:$AO$3</c:f>
              <c:numCache>
                <c:formatCode>General</c:formatCode>
                <c:ptCount val="41"/>
                <c:pt idx="10">
                  <c:v>455.19582369853561</c:v>
                </c:pt>
                <c:pt idx="11">
                  <c:v>331.01609221647141</c:v>
                </c:pt>
                <c:pt idx="12">
                  <c:v>345.49972987574256</c:v>
                </c:pt>
                <c:pt idx="13">
                  <c:v>382.85797668476516</c:v>
                </c:pt>
                <c:pt idx="14">
                  <c:v>409.13578814387029</c:v>
                </c:pt>
                <c:pt idx="15">
                  <c:v>515.49972987574256</c:v>
                </c:pt>
                <c:pt idx="16">
                  <c:v>715.49972987574256</c:v>
                </c:pt>
                <c:pt idx="17">
                  <c:v>832.45166992508348</c:v>
                </c:pt>
                <c:pt idx="18">
                  <c:v>862.84976817336792</c:v>
                </c:pt>
                <c:pt idx="19">
                  <c:v>893.52644880506159</c:v>
                </c:pt>
                <c:pt idx="20">
                  <c:v>924.48426487936285</c:v>
                </c:pt>
                <c:pt idx="21">
                  <c:v>955.72579285289794</c:v>
                </c:pt>
                <c:pt idx="22">
                  <c:v>987.25363279414614</c:v>
                </c:pt>
                <c:pt idx="23">
                  <c:v>1019.0704085998304</c:v>
                </c:pt>
                <c:pt idx="24">
                  <c:v>1051.1787682132895</c:v>
                </c:pt>
                <c:pt idx="25">
                  <c:v>1083.5813838448516</c:v>
                </c:pt>
                <c:pt idx="26">
                  <c:v>1116.2809521942327</c:v>
                </c:pt>
                <c:pt idx="27">
                  <c:v>1149.2801946749628</c:v>
                </c:pt>
                <c:pt idx="28">
                  <c:v>1182.5818576408788</c:v>
                </c:pt>
                <c:pt idx="29">
                  <c:v>1216.188712614688</c:v>
                </c:pt>
                <c:pt idx="30">
                  <c:v>1250.1035565186276</c:v>
                </c:pt>
                <c:pt idx="31">
                  <c:v>1275.1610846459821</c:v>
                </c:pt>
                <c:pt idx="32">
                  <c:v>1309.6163789367047</c:v>
                </c:pt>
                <c:pt idx="33">
                  <c:v>1344.3874376521021</c:v>
                </c:pt>
                <c:pt idx="34">
                  <c:v>1379.477154604981</c:v>
                </c:pt>
                <c:pt idx="35">
                  <c:v>1414.8884501284024</c:v>
                </c:pt>
                <c:pt idx="36">
                  <c:v>1450.6242713187239</c:v>
                </c:pt>
                <c:pt idx="37">
                  <c:v>1486.6875922808722</c:v>
                </c:pt>
                <c:pt idx="38">
                  <c:v>1523.0814143758612</c:v>
                </c:pt>
                <c:pt idx="39">
                  <c:v>1559.8087664705827</c:v>
                </c:pt>
                <c:pt idx="40">
                  <c:v>1596.87270518987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1F5-443A-B501-89419A8736CC}"/>
            </c:ext>
          </c:extLst>
        </c:ser>
        <c:ser>
          <c:idx val="2"/>
          <c:order val="2"/>
          <c:spPr>
            <a:ln w="38100" algn="ctr">
              <a:solidFill>
                <a:schemeClr val="accent3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4:$AO$4</c:f>
              <c:numCache>
                <c:formatCode>General</c:formatCode>
                <c:ptCount val="41"/>
                <c:pt idx="10">
                  <c:v>455.19582369853561</c:v>
                </c:pt>
                <c:pt idx="11">
                  <c:v>403.26187026561001</c:v>
                </c:pt>
                <c:pt idx="12">
                  <c:v>415.49972987574256</c:v>
                </c:pt>
                <c:pt idx="13">
                  <c:v>467.12664731569339</c:v>
                </c:pt>
                <c:pt idx="14">
                  <c:v>499.58675405837494</c:v>
                </c:pt>
                <c:pt idx="15">
                  <c:v>615.49972987574256</c:v>
                </c:pt>
                <c:pt idx="16">
                  <c:v>865.49972987574256</c:v>
                </c:pt>
                <c:pt idx="17">
                  <c:v>986.93184337399998</c:v>
                </c:pt>
                <c:pt idx="18">
                  <c:v>1025.1084355064031</c:v>
                </c:pt>
                <c:pt idx="19">
                  <c:v>1063.7048694041614</c:v>
                </c:pt>
                <c:pt idx="20">
                  <c:v>1102.7257622187312</c:v>
                </c:pt>
                <c:pt idx="21">
                  <c:v>1142.1757818780497</c:v>
                </c:pt>
                <c:pt idx="22">
                  <c:v>1182.0596476449423</c:v>
                </c:pt>
                <c:pt idx="23">
                  <c:v>1222.3821306816717</c:v>
                </c:pt>
                <c:pt idx="24">
                  <c:v>1263.148054620694</c:v>
                </c:pt>
                <c:pt idx="25">
                  <c:v>1304.3622961416936</c:v>
                </c:pt>
                <c:pt idx="26">
                  <c:v>1346.0297855549607</c:v>
                </c:pt>
                <c:pt idx="27">
                  <c:v>1388.1555073911886</c:v>
                </c:pt>
                <c:pt idx="28">
                  <c:v>1430.7445009977532</c:v>
                </c:pt>
                <c:pt idx="29">
                  <c:v>1473.8018611415532</c:v>
                </c:pt>
                <c:pt idx="30">
                  <c:v>1517.3327386184778</c:v>
                </c:pt>
                <c:pt idx="31">
                  <c:v>1534.7114685250585</c:v>
                </c:pt>
                <c:pt idx="32">
                  <c:v>1578.9121909426299</c:v>
                </c:pt>
                <c:pt idx="33">
                  <c:v>1623.5990046610023</c:v>
                </c:pt>
                <c:pt idx="34">
                  <c:v>1668.7772554016892</c:v>
                </c:pt>
                <c:pt idx="35">
                  <c:v>1714.4523476750319</c:v>
                </c:pt>
                <c:pt idx="36">
                  <c:v>1760.6297454267251</c:v>
                </c:pt>
                <c:pt idx="37">
                  <c:v>1807.3149726914444</c:v>
                </c:pt>
                <c:pt idx="38">
                  <c:v>1854.5136142536694</c:v>
                </c:pt>
                <c:pt idx="39">
                  <c:v>1902.2313163157733</c:v>
                </c:pt>
                <c:pt idx="40">
                  <c:v>1950.47378717345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01F5-443A-B501-89419A8736CC}"/>
            </c:ext>
          </c:extLst>
        </c:ser>
        <c:ser>
          <c:idx val="3"/>
          <c:order val="3"/>
          <c:spPr>
            <a:ln w="38100" algn="ctr">
              <a:solidFill>
                <a:schemeClr val="accent4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5:$AO$5</c:f>
              <c:numCache>
                <c:formatCode>General</c:formatCode>
                <c:ptCount val="41"/>
                <c:pt idx="10">
                  <c:v>455.19582369853561</c:v>
                </c:pt>
                <c:pt idx="11">
                  <c:v>265.49972987574256</c:v>
                </c:pt>
                <c:pt idx="12">
                  <c:v>182.39344551567956</c:v>
                </c:pt>
                <c:pt idx="13">
                  <c:v>187.2815776714051</c:v>
                </c:pt>
                <c:pt idx="14">
                  <c:v>192.1786692527844</c:v>
                </c:pt>
                <c:pt idx="15">
                  <c:v>265.49972987574256</c:v>
                </c:pt>
                <c:pt idx="16">
                  <c:v>390.49972987574256</c:v>
                </c:pt>
                <c:pt idx="17">
                  <c:v>457.08537271177374</c:v>
                </c:pt>
                <c:pt idx="18">
                  <c:v>462.47698591527069</c:v>
                </c:pt>
                <c:pt idx="19">
                  <c:v>467.87848137156107</c:v>
                </c:pt>
                <c:pt idx="20">
                  <c:v>473.28987719376164</c:v>
                </c:pt>
                <c:pt idx="21">
                  <c:v>478.71119152818846</c:v>
                </c:pt>
                <c:pt idx="22">
                  <c:v>484.14244255441918</c:v>
                </c:pt>
                <c:pt idx="23">
                  <c:v>489.58364848535075</c:v>
                </c:pt>
                <c:pt idx="24">
                  <c:v>495.03482756726362</c:v>
                </c:pt>
                <c:pt idx="25">
                  <c:v>500.49599807988079</c:v>
                </c:pt>
                <c:pt idx="26">
                  <c:v>505.96717833643197</c:v>
                </c:pt>
                <c:pt idx="27">
                  <c:v>511.44838668370994</c:v>
                </c:pt>
                <c:pt idx="28">
                  <c:v>516.93964150213878</c:v>
                </c:pt>
                <c:pt idx="29">
                  <c:v>522.44096120582935</c:v>
                </c:pt>
                <c:pt idx="30">
                  <c:v>527.95236424264431</c:v>
                </c:pt>
                <c:pt idx="31">
                  <c:v>553.86563001117065</c:v>
                </c:pt>
                <c:pt idx="32">
                  <c:v>559.43463111916844</c:v>
                </c:pt>
                <c:pt idx="33">
                  <c:v>565.01383961309648</c:v>
                </c:pt>
                <c:pt idx="34">
                  <c:v>570.60327420200701</c:v>
                </c:pt>
                <c:pt idx="35">
                  <c:v>576.20295362924207</c:v>
                </c:pt>
                <c:pt idx="36">
                  <c:v>581.81289667249894</c:v>
                </c:pt>
                <c:pt idx="37">
                  <c:v>587.4331221438938</c:v>
                </c:pt>
                <c:pt idx="38">
                  <c:v>593.06364889002225</c:v>
                </c:pt>
                <c:pt idx="39">
                  <c:v>598.70449579202341</c:v>
                </c:pt>
                <c:pt idx="40">
                  <c:v>604.3556817656435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01F5-443A-B501-89419A8736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0390303"/>
        <c:axId val="1"/>
      </c:scatterChart>
      <c:valAx>
        <c:axId val="960390303"/>
        <c:scaling>
          <c:orientation val="minMax"/>
          <c:max val="2055"/>
          <c:min val="201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"/>
        <c:crosses val="min"/>
        <c:crossBetween val="midCat"/>
        <c:majorUnit val="5"/>
      </c:valAx>
      <c:valAx>
        <c:axId val="1"/>
        <c:scaling>
          <c:orientation val="minMax"/>
          <c:max val="2015.499729875742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960390303"/>
        <c:crosses val="min"/>
        <c:crossBetween val="midCat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868873492430075E-2"/>
          <c:y val="2.3412877082395318E-2"/>
          <c:w val="0.87426225301513982"/>
          <c:h val="0.87032868077442593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2:$AO$2</c:f>
              <c:numCache>
                <c:formatCode>General</c:formatCode>
                <c:ptCount val="41"/>
                <c:pt idx="0">
                  <c:v>348.50375718118335</c:v>
                </c:pt>
                <c:pt idx="1">
                  <c:v>404.50375718118335</c:v>
                </c:pt>
                <c:pt idx="2">
                  <c:v>345.50375718118335</c:v>
                </c:pt>
                <c:pt idx="3">
                  <c:v>406.50375718118335</c:v>
                </c:pt>
                <c:pt idx="4">
                  <c:v>709.50375718118335</c:v>
                </c:pt>
                <c:pt idx="5">
                  <c:v>432.50375718118335</c:v>
                </c:pt>
                <c:pt idx="6">
                  <c:v>418.50375718118335</c:v>
                </c:pt>
                <c:pt idx="7">
                  <c:v>354.50375718118335</c:v>
                </c:pt>
                <c:pt idx="8">
                  <c:v>171.50375718118335</c:v>
                </c:pt>
                <c:pt idx="9">
                  <c:v>252.50375718118335</c:v>
                </c:pt>
                <c:pt idx="10">
                  <c:v>266.889357181183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9AD-4F5E-8F49-A9A7F03ACC41}"/>
            </c:ext>
          </c:extLst>
        </c:ser>
        <c:ser>
          <c:idx val="1"/>
          <c:order val="1"/>
          <c:spPr>
            <a:ln w="38100" algn="ctr">
              <a:solidFill>
                <a:srgbClr val="009DF0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3:$AO$3</c:f>
              <c:numCache>
                <c:formatCode>General</c:formatCode>
                <c:ptCount val="41"/>
                <c:pt idx="10">
                  <c:v>266.88935718118319</c:v>
                </c:pt>
                <c:pt idx="11">
                  <c:v>225.50375718118335</c:v>
                </c:pt>
                <c:pt idx="12">
                  <c:v>226.05401289165411</c:v>
                </c:pt>
                <c:pt idx="13">
                  <c:v>240.1539556533271</c:v>
                </c:pt>
                <c:pt idx="14">
                  <c:v>254.40617779682611</c:v>
                </c:pt>
                <c:pt idx="15">
                  <c:v>290.50375718118335</c:v>
                </c:pt>
                <c:pt idx="16">
                  <c:v>410.50375718118335</c:v>
                </c:pt>
                <c:pt idx="17">
                  <c:v>456.9917817902865</c:v>
                </c:pt>
                <c:pt idx="18">
                  <c:v>473.58585245606469</c:v>
                </c:pt>
                <c:pt idx="19">
                  <c:v>490.35913908503335</c:v>
                </c:pt>
                <c:pt idx="20">
                  <c:v>507.31357720959454</c:v>
                </c:pt>
                <c:pt idx="21">
                  <c:v>524.45112326590151</c:v>
                </c:pt>
                <c:pt idx="22">
                  <c:v>541.77375481961622</c:v>
                </c:pt>
                <c:pt idx="23">
                  <c:v>559.28347079411128</c:v>
                </c:pt>
                <c:pt idx="24">
                  <c:v>576.98229170113063</c:v>
                </c:pt>
                <c:pt idx="25">
                  <c:v>594.87225987394618</c:v>
                </c:pt>
                <c:pt idx="26">
                  <c:v>612.95543970302788</c:v>
                </c:pt>
                <c:pt idx="27">
                  <c:v>631.23391787426362</c:v>
                </c:pt>
                <c:pt idx="28">
                  <c:v>649.70980360974886</c:v>
                </c:pt>
                <c:pt idx="29">
                  <c:v>668.38522891117714</c:v>
                </c:pt>
                <c:pt idx="30">
                  <c:v>687.26234880586094</c:v>
                </c:pt>
                <c:pt idx="31">
                  <c:v>701.99907379126375</c:v>
                </c:pt>
                <c:pt idx="32">
                  <c:v>721.23922321065243</c:v>
                </c:pt>
                <c:pt idx="33">
                  <c:v>740.68716624377066</c:v>
                </c:pt>
                <c:pt idx="34">
                  <c:v>760.34514706164646</c:v>
                </c:pt>
                <c:pt idx="35">
                  <c:v>780.21543407235527</c:v>
                </c:pt>
                <c:pt idx="36">
                  <c:v>800.30032018277984</c:v>
                </c:pt>
                <c:pt idx="37">
                  <c:v>820.60212306319681</c:v>
                </c:pt>
                <c:pt idx="38">
                  <c:v>841.12318541472246</c:v>
                </c:pt>
                <c:pt idx="39">
                  <c:v>861.86587523964454</c:v>
                </c:pt>
                <c:pt idx="40">
                  <c:v>882.8325861146756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9AD-4F5E-8F49-A9A7F03ACC41}"/>
            </c:ext>
          </c:extLst>
        </c:ser>
        <c:ser>
          <c:idx val="2"/>
          <c:order val="2"/>
          <c:spPr>
            <a:ln w="38100" algn="ctr">
              <a:solidFill>
                <a:schemeClr val="accent3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4:$AO$4</c:f>
              <c:numCache>
                <c:formatCode>General</c:formatCode>
                <c:ptCount val="41"/>
                <c:pt idx="10">
                  <c:v>266.88935718118319</c:v>
                </c:pt>
                <c:pt idx="11">
                  <c:v>250.50375718118335</c:v>
                </c:pt>
                <c:pt idx="12">
                  <c:v>262.84523990983917</c:v>
                </c:pt>
                <c:pt idx="13">
                  <c:v>280.24198552600251</c:v>
                </c:pt>
                <c:pt idx="14">
                  <c:v>297.86419296535155</c:v>
                </c:pt>
                <c:pt idx="15">
                  <c:v>340.50375718118335</c:v>
                </c:pt>
                <c:pt idx="16">
                  <c:v>470.50375718118335</c:v>
                </c:pt>
                <c:pt idx="17">
                  <c:v>532.15704701514005</c:v>
                </c:pt>
                <c:pt idx="18">
                  <c:v>553.04407365138809</c:v>
                </c:pt>
                <c:pt idx="19">
                  <c:v>574.20179615284223</c:v>
                </c:pt>
                <c:pt idx="20">
                  <c:v>595.63372273791492</c:v>
                </c:pt>
                <c:pt idx="21">
                  <c:v>617.34340709153048</c:v>
                </c:pt>
                <c:pt idx="22">
                  <c:v>639.33444895436855</c:v>
                </c:pt>
                <c:pt idx="23">
                  <c:v>661.61049471974911</c:v>
                </c:pt>
                <c:pt idx="24">
                  <c:v>684.17523803824906</c:v>
                </c:pt>
                <c:pt idx="25">
                  <c:v>707.03242043015689</c:v>
                </c:pt>
                <c:pt idx="26">
                  <c:v>730.18583190586378</c:v>
                </c:pt>
                <c:pt idx="27">
                  <c:v>753.6393115942958</c:v>
                </c:pt>
                <c:pt idx="28">
                  <c:v>777.39674837948996</c:v>
                </c:pt>
                <c:pt idx="29">
                  <c:v>801.46208154542023</c:v>
                </c:pt>
                <c:pt idx="30">
                  <c:v>825.83930142918075</c:v>
                </c:pt>
                <c:pt idx="31">
                  <c:v>837.8284591754616</c:v>
                </c:pt>
                <c:pt idx="32">
                  <c:v>862.67698731330756</c:v>
                </c:pt>
                <c:pt idx="33">
                  <c:v>887.84755237581999</c:v>
                </c:pt>
                <c:pt idx="34">
                  <c:v>913.34432796154283</c:v>
                </c:pt>
                <c:pt idx="35">
                  <c:v>939.17154175885639</c:v>
                </c:pt>
                <c:pt idx="36">
                  <c:v>965.33347624698331</c:v>
                </c:pt>
                <c:pt idx="37">
                  <c:v>991.83446940607632</c:v>
                </c:pt>
                <c:pt idx="38">
                  <c:v>1018.6789154365108</c:v>
                </c:pt>
                <c:pt idx="39">
                  <c:v>1045.8712654875001</c:v>
                </c:pt>
                <c:pt idx="40">
                  <c:v>1073.41602839514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89AD-4F5E-8F49-A9A7F03ACC41}"/>
            </c:ext>
          </c:extLst>
        </c:ser>
        <c:ser>
          <c:idx val="3"/>
          <c:order val="3"/>
          <c:spPr>
            <a:ln w="38100" algn="ctr">
              <a:solidFill>
                <a:schemeClr val="accent4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5:$AO$5</c:f>
              <c:numCache>
                <c:formatCode>General</c:formatCode>
                <c:ptCount val="41"/>
                <c:pt idx="10">
                  <c:v>266.88935718118319</c:v>
                </c:pt>
                <c:pt idx="11">
                  <c:v>170.50375718118335</c:v>
                </c:pt>
                <c:pt idx="12">
                  <c:v>120.50375718118335</c:v>
                </c:pt>
                <c:pt idx="13">
                  <c:v>101.33474274557057</c:v>
                </c:pt>
                <c:pt idx="14">
                  <c:v>89.526432889926582</c:v>
                </c:pt>
                <c:pt idx="15">
                  <c:v>77.836206132839152</c:v>
                </c:pt>
                <c:pt idx="16">
                  <c:v>47.533009875249263</c:v>
                </c:pt>
                <c:pt idx="17">
                  <c:v>47.533009875249263</c:v>
                </c:pt>
                <c:pt idx="18">
                  <c:v>47.533009875249263</c:v>
                </c:pt>
                <c:pt idx="19">
                  <c:v>47.533009875249263</c:v>
                </c:pt>
                <c:pt idx="20">
                  <c:v>47.533009875249263</c:v>
                </c:pt>
                <c:pt idx="21">
                  <c:v>186.28283342914074</c:v>
                </c:pt>
                <c:pt idx="22">
                  <c:v>199.9532474526186</c:v>
                </c:pt>
                <c:pt idx="23">
                  <c:v>213.77130194755</c:v>
                </c:pt>
                <c:pt idx="24">
                  <c:v>227.73859143102663</c:v>
                </c:pt>
                <c:pt idx="25">
                  <c:v>241.85672764092487</c:v>
                </c:pt>
                <c:pt idx="26">
                  <c:v>256.12733972188994</c:v>
                </c:pt>
                <c:pt idx="27">
                  <c:v>270.55207441332959</c:v>
                </c:pt>
                <c:pt idx="28">
                  <c:v>285.13259623943645</c:v>
                </c:pt>
                <c:pt idx="29">
                  <c:v>299.87058770126555</c:v>
                </c:pt>
                <c:pt idx="30">
                  <c:v>314.76774947088256</c:v>
                </c:pt>
                <c:pt idx="31">
                  <c:v>339.34826726173515</c:v>
                </c:pt>
                <c:pt idx="32">
                  <c:v>354.67178797060524</c:v>
                </c:pt>
                <c:pt idx="33">
                  <c:v>370.16080270313068</c:v>
                </c:pt>
                <c:pt idx="34">
                  <c:v>385.81709879476762</c:v>
                </c:pt>
                <c:pt idx="35">
                  <c:v>401.64248288419435</c:v>
                </c:pt>
                <c:pt idx="36">
                  <c:v>417.63878112178668</c:v>
                </c:pt>
                <c:pt idx="37">
                  <c:v>433.80783938034529</c:v>
                </c:pt>
                <c:pt idx="38">
                  <c:v>450.151523468096</c:v>
                </c:pt>
                <c:pt idx="39">
                  <c:v>466.67171934399471</c:v>
                </c:pt>
                <c:pt idx="40">
                  <c:v>483.3703333353528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89AD-4F5E-8F49-A9A7F03ACC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83330023"/>
        <c:axId val="1"/>
      </c:scatterChart>
      <c:valAx>
        <c:axId val="683330023"/>
        <c:scaling>
          <c:orientation val="minMax"/>
          <c:max val="2055"/>
          <c:min val="201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"/>
        <c:crosses val="min"/>
        <c:crossBetween val="midCat"/>
        <c:majorUnit val="5"/>
      </c:valAx>
      <c:valAx>
        <c:axId val="1"/>
        <c:scaling>
          <c:orientation val="minMax"/>
          <c:max val="1120.503757181183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683330023"/>
        <c:crosses val="min"/>
        <c:crossBetween val="midCat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915098890496864"/>
          <c:y val="3.5999999999999997E-2"/>
          <c:w val="0.8217559093101785"/>
          <c:h val="0.85911111111111116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2:$AO$2</c:f>
              <c:numCache>
                <c:formatCode>General</c:formatCode>
                <c:ptCount val="41"/>
                <c:pt idx="0">
                  <c:v>1458</c:v>
                </c:pt>
                <c:pt idx="1">
                  <c:v>1184</c:v>
                </c:pt>
                <c:pt idx="2">
                  <c:v>470</c:v>
                </c:pt>
                <c:pt idx="3">
                  <c:v>467</c:v>
                </c:pt>
                <c:pt idx="4">
                  <c:v>443</c:v>
                </c:pt>
                <c:pt idx="5">
                  <c:v>432</c:v>
                </c:pt>
                <c:pt idx="6">
                  <c:v>384</c:v>
                </c:pt>
                <c:pt idx="7">
                  <c:v>345</c:v>
                </c:pt>
                <c:pt idx="8">
                  <c:v>351</c:v>
                </c:pt>
                <c:pt idx="9">
                  <c:v>430</c:v>
                </c:pt>
                <c:pt idx="10">
                  <c:v>443.271737609212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71B-47DC-AE2F-7A87B67DDAD5}"/>
            </c:ext>
          </c:extLst>
        </c:ser>
        <c:ser>
          <c:idx val="1"/>
          <c:order val="1"/>
          <c:spPr>
            <a:ln w="38100" algn="ctr">
              <a:solidFill>
                <a:srgbClr val="009DF0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3:$AO$3</c:f>
              <c:numCache>
                <c:formatCode>General</c:formatCode>
                <c:ptCount val="41"/>
                <c:pt idx="10">
                  <c:v>443.27173760921289</c:v>
                </c:pt>
                <c:pt idx="11">
                  <c:v>424.89839004835358</c:v>
                </c:pt>
                <c:pt idx="12">
                  <c:v>429.14737394883713</c:v>
                </c:pt>
                <c:pt idx="13">
                  <c:v>433.4388476883255</c:v>
                </c:pt>
                <c:pt idx="14">
                  <c:v>437.7732361652088</c:v>
                </c:pt>
                <c:pt idx="15">
                  <c:v>442.15096852686088</c:v>
                </c:pt>
                <c:pt idx="16">
                  <c:v>498.08260388952203</c:v>
                </c:pt>
                <c:pt idx="17">
                  <c:v>503.06342992841724</c:v>
                </c:pt>
                <c:pt idx="18">
                  <c:v>508.09406422770144</c:v>
                </c:pt>
                <c:pt idx="19">
                  <c:v>513.17500486997847</c:v>
                </c:pt>
                <c:pt idx="20">
                  <c:v>518.30675491867828</c:v>
                </c:pt>
                <c:pt idx="21">
                  <c:v>523.489822467865</c:v>
                </c:pt>
                <c:pt idx="22">
                  <c:v>528.72472069254366</c:v>
                </c:pt>
                <c:pt idx="23">
                  <c:v>534.01196789946914</c:v>
                </c:pt>
                <c:pt idx="24">
                  <c:v>539.35208757846374</c:v>
                </c:pt>
                <c:pt idx="25">
                  <c:v>544.74560845424844</c:v>
                </c:pt>
                <c:pt idx="26">
                  <c:v>550.19306453879096</c:v>
                </c:pt>
                <c:pt idx="27">
                  <c:v>555.69499518417877</c:v>
                </c:pt>
                <c:pt idx="28">
                  <c:v>561.25194513602059</c:v>
                </c:pt>
                <c:pt idx="29">
                  <c:v>566.86446458738089</c:v>
                </c:pt>
                <c:pt idx="30">
                  <c:v>572.53310923325478</c:v>
                </c:pt>
                <c:pt idx="31">
                  <c:v>576.85175769479281</c:v>
                </c:pt>
                <c:pt idx="32">
                  <c:v>582.62027527174064</c:v>
                </c:pt>
                <c:pt idx="33">
                  <c:v>588.4464780244582</c:v>
                </c:pt>
                <c:pt idx="34">
                  <c:v>594.33094280470266</c:v>
                </c:pt>
                <c:pt idx="35">
                  <c:v>600.27425223274975</c:v>
                </c:pt>
                <c:pt idx="36">
                  <c:v>606.27699475507723</c:v>
                </c:pt>
                <c:pt idx="37">
                  <c:v>612.33976470262792</c:v>
                </c:pt>
                <c:pt idx="38">
                  <c:v>618.46316234965423</c:v>
                </c:pt>
                <c:pt idx="39">
                  <c:v>624.64779397315078</c:v>
                </c:pt>
                <c:pt idx="40">
                  <c:v>630.894271912882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71B-47DC-AE2F-7A87B67DDAD5}"/>
            </c:ext>
          </c:extLst>
        </c:ser>
        <c:ser>
          <c:idx val="2"/>
          <c:order val="2"/>
          <c:spPr>
            <a:ln w="38100" algn="ctr">
              <a:solidFill>
                <a:schemeClr val="accent3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4:$AO$4</c:f>
              <c:numCache>
                <c:formatCode>General</c:formatCode>
                <c:ptCount val="41"/>
                <c:pt idx="10">
                  <c:v>443.27173760921289</c:v>
                </c:pt>
                <c:pt idx="11">
                  <c:v>442.76381202904298</c:v>
                </c:pt>
                <c:pt idx="12">
                  <c:v>455.16119876585623</c:v>
                </c:pt>
                <c:pt idx="13">
                  <c:v>467.90571233130021</c:v>
                </c:pt>
                <c:pt idx="14">
                  <c:v>481.00707227657665</c:v>
                </c:pt>
                <c:pt idx="15">
                  <c:v>494.4752703003208</c:v>
                </c:pt>
                <c:pt idx="16">
                  <c:v>572.24870408055176</c:v>
                </c:pt>
                <c:pt idx="17">
                  <c:v>588.27166779480717</c:v>
                </c:pt>
                <c:pt idx="18">
                  <c:v>604.7432744930619</c:v>
                </c:pt>
                <c:pt idx="19">
                  <c:v>621.67608617886754</c:v>
                </c:pt>
                <c:pt idx="20">
                  <c:v>639.08301659187589</c:v>
                </c:pt>
                <c:pt idx="21">
                  <c:v>656.97734105644838</c:v>
                </c:pt>
                <c:pt idx="22">
                  <c:v>675.37270660602894</c:v>
                </c:pt>
                <c:pt idx="23">
                  <c:v>694.28314239099768</c:v>
                </c:pt>
                <c:pt idx="24">
                  <c:v>713.72307037794565</c:v>
                </c:pt>
                <c:pt idx="25">
                  <c:v>733.70731634852825</c:v>
                </c:pt>
                <c:pt idx="26">
                  <c:v>754.25112120628705</c:v>
                </c:pt>
                <c:pt idx="27">
                  <c:v>775.37015260006308</c:v>
                </c:pt>
                <c:pt idx="28">
                  <c:v>797.08051687286491</c:v>
                </c:pt>
                <c:pt idx="29">
                  <c:v>819.39877134530514</c:v>
                </c:pt>
                <c:pt idx="30">
                  <c:v>842.34193694297369</c:v>
                </c:pt>
                <c:pt idx="31">
                  <c:v>860.22773310219668</c:v>
                </c:pt>
                <c:pt idx="32">
                  <c:v>884.31410962905829</c:v>
                </c:pt>
                <c:pt idx="33">
                  <c:v>909.07490469867184</c:v>
                </c:pt>
                <c:pt idx="34">
                  <c:v>934.52900203023466</c:v>
                </c:pt>
                <c:pt idx="35">
                  <c:v>960.6958140870812</c:v>
                </c:pt>
                <c:pt idx="36">
                  <c:v>987.59529688151952</c:v>
                </c:pt>
                <c:pt idx="37">
                  <c:v>1015.247965194202</c:v>
                </c:pt>
                <c:pt idx="38">
                  <c:v>1043.6749082196397</c:v>
                </c:pt>
                <c:pt idx="39">
                  <c:v>1072.8978056497897</c:v>
                </c:pt>
                <c:pt idx="40">
                  <c:v>1102.938944207983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A71B-47DC-AE2F-7A87B67DDAD5}"/>
            </c:ext>
          </c:extLst>
        </c:ser>
        <c:ser>
          <c:idx val="3"/>
          <c:order val="3"/>
          <c:spPr>
            <a:ln w="38100" algn="ctr">
              <a:solidFill>
                <a:schemeClr val="accent4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5:$AO$5</c:f>
              <c:numCache>
                <c:formatCode>General</c:formatCode>
                <c:ptCount val="41"/>
                <c:pt idx="10">
                  <c:v>443.27173760921289</c:v>
                </c:pt>
                <c:pt idx="11">
                  <c:v>396.65956896439417</c:v>
                </c:pt>
                <c:pt idx="12">
                  <c:v>392.69297327475022</c:v>
                </c:pt>
                <c:pt idx="13">
                  <c:v>388.76604354200271</c:v>
                </c:pt>
                <c:pt idx="14">
                  <c:v>384.8783831065827</c:v>
                </c:pt>
                <c:pt idx="15">
                  <c:v>381.02959927551683</c:v>
                </c:pt>
                <c:pt idx="16">
                  <c:v>412.28094535152439</c:v>
                </c:pt>
                <c:pt idx="17">
                  <c:v>408.15813589800916</c:v>
                </c:pt>
                <c:pt idx="18">
                  <c:v>404.07655453902902</c:v>
                </c:pt>
                <c:pt idx="19">
                  <c:v>400.03578899363873</c:v>
                </c:pt>
                <c:pt idx="20">
                  <c:v>396.03543110370236</c:v>
                </c:pt>
                <c:pt idx="21">
                  <c:v>392.0750767926653</c:v>
                </c:pt>
                <c:pt idx="22">
                  <c:v>388.15432602473862</c:v>
                </c:pt>
                <c:pt idx="23">
                  <c:v>384.27278276449124</c:v>
                </c:pt>
                <c:pt idx="24">
                  <c:v>380.43005493684637</c:v>
                </c:pt>
                <c:pt idx="25">
                  <c:v>376.62575438747785</c:v>
                </c:pt>
                <c:pt idx="26">
                  <c:v>372.8594968436031</c:v>
                </c:pt>
                <c:pt idx="27">
                  <c:v>369.13090187516707</c:v>
                </c:pt>
                <c:pt idx="28">
                  <c:v>365.4395928564154</c:v>
                </c:pt>
                <c:pt idx="29">
                  <c:v>361.78519692785125</c:v>
                </c:pt>
                <c:pt idx="30">
                  <c:v>358.16734495857276</c:v>
                </c:pt>
                <c:pt idx="31">
                  <c:v>356.98152578222675</c:v>
                </c:pt>
                <c:pt idx="32">
                  <c:v>353.41171052440444</c:v>
                </c:pt>
                <c:pt idx="33">
                  <c:v>349.87759341916041</c:v>
                </c:pt>
                <c:pt idx="34">
                  <c:v>346.37881748496881</c:v>
                </c:pt>
                <c:pt idx="35">
                  <c:v>342.91502931011911</c:v>
                </c:pt>
                <c:pt idx="36">
                  <c:v>339.48587901701791</c:v>
                </c:pt>
                <c:pt idx="37">
                  <c:v>336.09102022684772</c:v>
                </c:pt>
                <c:pt idx="38">
                  <c:v>332.73011002457923</c:v>
                </c:pt>
                <c:pt idx="39">
                  <c:v>329.40280892433344</c:v>
                </c:pt>
                <c:pt idx="40">
                  <c:v>326.10878083509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A71B-47DC-AE2F-7A87B67DDA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0400343"/>
        <c:axId val="1"/>
      </c:scatterChart>
      <c:valAx>
        <c:axId val="630400343"/>
        <c:scaling>
          <c:orientation val="minMax"/>
          <c:max val="2055"/>
          <c:min val="201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"/>
        <c:crosses val="min"/>
        <c:crossBetween val="midCat"/>
        <c:majorUnit val="5"/>
      </c:valAx>
      <c:valAx>
        <c:axId val="1"/>
        <c:scaling>
          <c:orientation val="minMax"/>
          <c:max val="1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630400343"/>
        <c:crosses val="min"/>
        <c:crossBetween val="midCat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584164461632404E-2"/>
          <c:y val="7.6023391812865493E-2"/>
          <c:w val="0.97883167107673519"/>
          <c:h val="0.8479532163742690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CEBF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E90-4A9D-8190-909C8B867839}"/>
              </c:ext>
            </c:extLst>
          </c:dPt>
          <c:dPt>
            <c:idx val="6"/>
            <c:invertIfNegative val="0"/>
            <c:bubble3D val="0"/>
            <c:spPr>
              <a:solidFill>
                <a:srgbClr val="009D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E90-4A9D-8190-909C8B867839}"/>
              </c:ext>
            </c:extLst>
          </c:dPt>
          <c:dLbls>
            <c:dLbl>
              <c:idx val="0"/>
              <c:layout>
                <c:manualLayout>
                  <c:x val="0"/>
                  <c:y val="-1.4619883040935672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E90-4A9D-8190-909C8B867839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E90-4A9D-8190-909C8B86783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0.231623271108866</c:v>
                </c:pt>
                <c:pt idx="1">
                  <c:v>40.231623271108866</c:v>
                </c:pt>
                <c:pt idx="2">
                  <c:v>61.894805032475176</c:v>
                </c:pt>
                <c:pt idx="3">
                  <c:v>76.022160687200952</c:v>
                </c:pt>
                <c:pt idx="4">
                  <c:v>87.022160687200952</c:v>
                </c:pt>
                <c:pt idx="5">
                  <c:v>91.962523783956129</c:v>
                </c:pt>
                <c:pt idx="6">
                  <c:v>107.9992298613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90-4A9D-8190-909C8B867839}"/>
            </c:ext>
          </c:extLst>
        </c:ser>
        <c:ser>
          <c:idx val="1"/>
          <c:order val="1"/>
          <c:spPr>
            <a:solidFill>
              <a:srgbClr val="CCEBFD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1">
                  <c:v>21.66318176136631</c:v>
                </c:pt>
                <c:pt idx="2">
                  <c:v>14.127355654725775</c:v>
                </c:pt>
                <c:pt idx="3">
                  <c:v>11</c:v>
                </c:pt>
                <c:pt idx="4">
                  <c:v>4.9403630967551777</c:v>
                </c:pt>
                <c:pt idx="5">
                  <c:v>16.0367060774070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90-4A9D-8190-909C8B867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06830807"/>
        <c:axId val="1"/>
      </c:barChart>
      <c:catAx>
        <c:axId val="4068308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.6955564574495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68308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584164461632404E-2"/>
          <c:y val="7.6023391812865493E-2"/>
          <c:w val="0.97883167107673519"/>
          <c:h val="0.8479532163742690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CEBF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EC3-40D5-9D62-A2245C081042}"/>
              </c:ext>
            </c:extLst>
          </c:dPt>
          <c:dPt>
            <c:idx val="6"/>
            <c:invertIfNegative val="0"/>
            <c:bubble3D val="0"/>
            <c:spPr>
              <a:solidFill>
                <a:srgbClr val="009D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EC3-40D5-9D62-A2245C081042}"/>
              </c:ext>
            </c:extLst>
          </c:dPt>
          <c:dLbls>
            <c:dLbl>
              <c:idx val="0"/>
              <c:layout>
                <c:manualLayout>
                  <c:x val="0"/>
                  <c:y val="-1.4619883040935672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EC3-40D5-9D62-A2245C081042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EC3-40D5-9D62-A2245C08104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57.862833906159189</c:v>
                </c:pt>
                <c:pt idx="1">
                  <c:v>57.862833906159189</c:v>
                </c:pt>
                <c:pt idx="2">
                  <c:v>89.019744471014135</c:v>
                </c:pt>
                <c:pt idx="3">
                  <c:v>110.53274152094454</c:v>
                </c:pt>
                <c:pt idx="4">
                  <c:v>121.53274152094454</c:v>
                </c:pt>
                <c:pt idx="5">
                  <c:v>134.65885038004251</c:v>
                </c:pt>
                <c:pt idx="6">
                  <c:v>150.695556457449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EC3-40D5-9D62-A2245C081042}"/>
            </c:ext>
          </c:extLst>
        </c:ser>
        <c:ser>
          <c:idx val="1"/>
          <c:order val="1"/>
          <c:spPr>
            <a:solidFill>
              <a:srgbClr val="CCEBFD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EC3-40D5-9D62-A2245C08104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1">
                  <c:v>31.156910564854947</c:v>
                </c:pt>
                <c:pt idx="2">
                  <c:v>21.512997049930405</c:v>
                </c:pt>
                <c:pt idx="3">
                  <c:v>11</c:v>
                </c:pt>
                <c:pt idx="4">
                  <c:v>13.126108859097968</c:v>
                </c:pt>
                <c:pt idx="5">
                  <c:v>16.0367060774070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EC3-40D5-9D62-A2245C0810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55047303"/>
        <c:axId val="1"/>
      </c:barChart>
      <c:catAx>
        <c:axId val="12550473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.6955564574495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550473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584164461632404E-2"/>
          <c:y val="7.6023391812865493E-2"/>
          <c:w val="0.97883167107673519"/>
          <c:h val="0.8479532163742690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CEBF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698-435B-A8DB-6F0E08BE9376}"/>
              </c:ext>
            </c:extLst>
          </c:dPt>
          <c:dPt>
            <c:idx val="6"/>
            <c:invertIfNegative val="0"/>
            <c:bubble3D val="0"/>
            <c:spPr>
              <a:solidFill>
                <a:srgbClr val="009D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698-435B-A8DB-6F0E08BE9376}"/>
              </c:ext>
            </c:extLst>
          </c:dPt>
          <c:dLbls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698-435B-A8DB-6F0E08BE937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2.645526228204794</c:v>
                </c:pt>
                <c:pt idx="1">
                  <c:v>22.645526228204794</c:v>
                </c:pt>
                <c:pt idx="2">
                  <c:v>34.839271120315068</c:v>
                </c:pt>
                <c:pt idx="3">
                  <c:v>34.839271120315068</c:v>
                </c:pt>
                <c:pt idx="4">
                  <c:v>45.839271120315068</c:v>
                </c:pt>
                <c:pt idx="5">
                  <c:v>45.839271120315068</c:v>
                </c:pt>
                <c:pt idx="6">
                  <c:v>61.87597719772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698-435B-A8DB-6F0E08BE9376}"/>
            </c:ext>
          </c:extLst>
        </c:ser>
        <c:ser>
          <c:idx val="1"/>
          <c:order val="1"/>
          <c:spPr>
            <a:solidFill>
              <a:srgbClr val="CCEBFD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1">
                  <c:v>12.193744892110274</c:v>
                </c:pt>
                <c:pt idx="2">
                  <c:v>0</c:v>
                </c:pt>
                <c:pt idx="3">
                  <c:v>11</c:v>
                </c:pt>
                <c:pt idx="4">
                  <c:v>0</c:v>
                </c:pt>
                <c:pt idx="5">
                  <c:v>16.036706077407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698-435B-A8DB-6F0E08BE93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56686639"/>
        <c:axId val="1"/>
      </c:barChart>
      <c:catAx>
        <c:axId val="9566866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.6955564574495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566866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065268486711268E-2"/>
          <c:y val="3.4674657534246575E-2"/>
          <c:w val="0.88663894413306821"/>
          <c:h val="0.86429794520547942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W$1</c:f>
              <c:numCache>
                <c:formatCode>General</c:formatCode>
                <c:ptCount val="23"/>
                <c:pt idx="0">
                  <c:v>2030</c:v>
                </c:pt>
                <c:pt idx="1">
                  <c:v>2031</c:v>
                </c:pt>
                <c:pt idx="2">
                  <c:v>2032</c:v>
                </c:pt>
                <c:pt idx="3">
                  <c:v>2033</c:v>
                </c:pt>
                <c:pt idx="4">
                  <c:v>2034</c:v>
                </c:pt>
                <c:pt idx="5">
                  <c:v>2035</c:v>
                </c:pt>
                <c:pt idx="6">
                  <c:v>2036</c:v>
                </c:pt>
                <c:pt idx="7">
                  <c:v>2037</c:v>
                </c:pt>
                <c:pt idx="8">
                  <c:v>2038</c:v>
                </c:pt>
                <c:pt idx="9">
                  <c:v>2039</c:v>
                </c:pt>
                <c:pt idx="10">
                  <c:v>2040</c:v>
                </c:pt>
                <c:pt idx="11">
                  <c:v>2041</c:v>
                </c:pt>
                <c:pt idx="12">
                  <c:v>2042</c:v>
                </c:pt>
                <c:pt idx="13">
                  <c:v>2043</c:v>
                </c:pt>
                <c:pt idx="14">
                  <c:v>2044</c:v>
                </c:pt>
                <c:pt idx="15">
                  <c:v>2045</c:v>
                </c:pt>
                <c:pt idx="16">
                  <c:v>2046</c:v>
                </c:pt>
                <c:pt idx="17">
                  <c:v>2047</c:v>
                </c:pt>
                <c:pt idx="18">
                  <c:v>2048</c:v>
                </c:pt>
                <c:pt idx="19">
                  <c:v>2049</c:v>
                </c:pt>
                <c:pt idx="20">
                  <c:v>2050</c:v>
                </c:pt>
                <c:pt idx="21">
                  <c:v>2051</c:v>
                </c:pt>
                <c:pt idx="22">
                  <c:v>2052</c:v>
                </c:pt>
              </c:numCache>
            </c:numRef>
          </c:xVal>
          <c:yVal>
            <c:numRef>
              <c:f>Sheet1!$A$2:$W$2</c:f>
              <c:numCache>
                <c:formatCode>General</c:formatCode>
                <c:ptCount val="23"/>
                <c:pt idx="0">
                  <c:v>63.159955593875935</c:v>
                </c:pt>
                <c:pt idx="1">
                  <c:v>68.036308215965519</c:v>
                </c:pt>
                <c:pt idx="2">
                  <c:v>73.030504653525469</c:v>
                </c:pt>
                <c:pt idx="3">
                  <c:v>76.463477164203923</c:v>
                </c:pt>
                <c:pt idx="4">
                  <c:v>79.948716377167031</c:v>
                </c:pt>
                <c:pt idx="5">
                  <c:v>83.487090553476179</c:v>
                </c:pt>
                <c:pt idx="6">
                  <c:v>87.079483927767413</c:v>
                </c:pt>
                <c:pt idx="7">
                  <c:v>90.726797035578812</c:v>
                </c:pt>
                <c:pt idx="8">
                  <c:v>94.429947048081502</c:v>
                </c:pt>
                <c:pt idx="9">
                  <c:v>98.189868114394386</c:v>
                </c:pt>
                <c:pt idx="10">
                  <c:v>102.00751171166864</c:v>
                </c:pt>
                <c:pt idx="11">
                  <c:v>105.8838470031323</c:v>
                </c:pt>
                <c:pt idx="12">
                  <c:v>109.81986120429072</c:v>
                </c:pt>
                <c:pt idx="13">
                  <c:v>112.06457801358266</c:v>
                </c:pt>
                <c:pt idx="14">
                  <c:v>116.09736355428423</c:v>
                </c:pt>
                <c:pt idx="15">
                  <c:v>120.19249952059627</c:v>
                </c:pt>
                <c:pt idx="16">
                  <c:v>124.35104227885948</c:v>
                </c:pt>
                <c:pt idx="17">
                  <c:v>128.57406807758255</c:v>
                </c:pt>
                <c:pt idx="18">
                  <c:v>132.86267346422042</c:v>
                </c:pt>
                <c:pt idx="19">
                  <c:v>137.21797571156031</c:v>
                </c:pt>
                <c:pt idx="20">
                  <c:v>141.64111325395567</c:v>
                </c:pt>
                <c:pt idx="21">
                  <c:v>146.1332461336512</c:v>
                </c:pt>
                <c:pt idx="22">
                  <c:v>150.695556457449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B68-419C-88DF-45AB78D9E754}"/>
            </c:ext>
          </c:extLst>
        </c:ser>
        <c:ser>
          <c:idx val="1"/>
          <c:order val="1"/>
          <c:spPr>
            <a:ln w="3810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xVal>
            <c:numRef>
              <c:f>Sheet1!$A$1:$W$1</c:f>
              <c:numCache>
                <c:formatCode>General</c:formatCode>
                <c:ptCount val="23"/>
                <c:pt idx="0">
                  <c:v>2030</c:v>
                </c:pt>
                <c:pt idx="1">
                  <c:v>2031</c:v>
                </c:pt>
                <c:pt idx="2">
                  <c:v>2032</c:v>
                </c:pt>
                <c:pt idx="3">
                  <c:v>2033</c:v>
                </c:pt>
                <c:pt idx="4">
                  <c:v>2034</c:v>
                </c:pt>
                <c:pt idx="5">
                  <c:v>2035</c:v>
                </c:pt>
                <c:pt idx="6">
                  <c:v>2036</c:v>
                </c:pt>
                <c:pt idx="7">
                  <c:v>2037</c:v>
                </c:pt>
                <c:pt idx="8">
                  <c:v>2038</c:v>
                </c:pt>
                <c:pt idx="9">
                  <c:v>2039</c:v>
                </c:pt>
                <c:pt idx="10">
                  <c:v>2040</c:v>
                </c:pt>
                <c:pt idx="11">
                  <c:v>2041</c:v>
                </c:pt>
                <c:pt idx="12">
                  <c:v>2042</c:v>
                </c:pt>
                <c:pt idx="13">
                  <c:v>2043</c:v>
                </c:pt>
                <c:pt idx="14">
                  <c:v>2044</c:v>
                </c:pt>
                <c:pt idx="15">
                  <c:v>2045</c:v>
                </c:pt>
                <c:pt idx="16">
                  <c:v>2046</c:v>
                </c:pt>
                <c:pt idx="17">
                  <c:v>2047</c:v>
                </c:pt>
                <c:pt idx="18">
                  <c:v>2048</c:v>
                </c:pt>
                <c:pt idx="19">
                  <c:v>2049</c:v>
                </c:pt>
                <c:pt idx="20">
                  <c:v>2050</c:v>
                </c:pt>
                <c:pt idx="21">
                  <c:v>2051</c:v>
                </c:pt>
                <c:pt idx="22">
                  <c:v>2052</c:v>
                </c:pt>
              </c:numCache>
            </c:numRef>
          </c:xVal>
          <c:yVal>
            <c:numRef>
              <c:f>Sheet1!$A$3:$W$3</c:f>
              <c:numCache>
                <c:formatCode>General</c:formatCode>
                <c:ptCount val="23"/>
                <c:pt idx="0">
                  <c:v>49.779978779592696</c:v>
                </c:pt>
                <c:pt idx="1">
                  <c:v>53.51814263047914</c:v>
                </c:pt>
                <c:pt idx="2">
                  <c:v>57.330271749374646</c:v>
                </c:pt>
                <c:pt idx="3">
                  <c:v>59.654418164722117</c:v>
                </c:pt>
                <c:pt idx="4">
                  <c:v>62.002585025639192</c:v>
                </c:pt>
                <c:pt idx="5">
                  <c:v>64.375022306295719</c:v>
                </c:pt>
                <c:pt idx="6">
                  <c:v>66.77198259907594</c:v>
                </c:pt>
                <c:pt idx="7">
                  <c:v>69.193721142164563</c:v>
                </c:pt>
                <c:pt idx="8">
                  <c:v>71.640495847425356</c:v>
                </c:pt>
                <c:pt idx="9">
                  <c:v>74.112567328574741</c:v>
                </c:pt>
                <c:pt idx="10">
                  <c:v>76.610198929654217</c:v>
                </c:pt>
                <c:pt idx="11">
                  <c:v>79.133656753804274</c:v>
                </c:pt>
                <c:pt idx="12">
                  <c:v>81.683209692342984</c:v>
                </c:pt>
                <c:pt idx="13">
                  <c:v>83.642574484851053</c:v>
                </c:pt>
                <c:pt idx="14">
                  <c:v>86.23880458566903</c:v>
                </c:pt>
                <c:pt idx="15">
                  <c:v>88.861888016103109</c:v>
                </c:pt>
                <c:pt idx="16">
                  <c:v>91.512104435219399</c:v>
                </c:pt>
                <c:pt idx="17">
                  <c:v>94.189736433195947</c:v>
                </c:pt>
                <c:pt idx="18">
                  <c:v>96.895069562225061</c:v>
                </c:pt>
                <c:pt idx="19">
                  <c:v>99.628392367742663</c:v>
                </c:pt>
                <c:pt idx="20">
                  <c:v>102.38999641998932</c:v>
                </c:pt>
                <c:pt idx="21">
                  <c:v>105.18017634590512</c:v>
                </c:pt>
                <c:pt idx="22">
                  <c:v>107.99922986136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B68-419C-88DF-45AB78D9E754}"/>
            </c:ext>
          </c:extLst>
        </c:ser>
        <c:ser>
          <c:idx val="2"/>
          <c:order val="2"/>
          <c:spPr>
            <a:ln w="38100" algn="ctr">
              <a:solidFill>
                <a:srgbClr val="62294B"/>
              </a:solidFill>
              <a:prstDash val="solid"/>
            </a:ln>
          </c:spPr>
          <c:marker>
            <c:symbol val="none"/>
          </c:marker>
          <c:xVal>
            <c:numRef>
              <c:f>Sheet1!$A$1:$W$1</c:f>
              <c:numCache>
                <c:formatCode>General</c:formatCode>
                <c:ptCount val="23"/>
                <c:pt idx="0">
                  <c:v>2030</c:v>
                </c:pt>
                <c:pt idx="1">
                  <c:v>2031</c:v>
                </c:pt>
                <c:pt idx="2">
                  <c:v>2032</c:v>
                </c:pt>
                <c:pt idx="3">
                  <c:v>2033</c:v>
                </c:pt>
                <c:pt idx="4">
                  <c:v>2034</c:v>
                </c:pt>
                <c:pt idx="5">
                  <c:v>2035</c:v>
                </c:pt>
                <c:pt idx="6">
                  <c:v>2036</c:v>
                </c:pt>
                <c:pt idx="7">
                  <c:v>2037</c:v>
                </c:pt>
                <c:pt idx="8">
                  <c:v>2038</c:v>
                </c:pt>
                <c:pt idx="9">
                  <c:v>2039</c:v>
                </c:pt>
                <c:pt idx="10">
                  <c:v>2040</c:v>
                </c:pt>
                <c:pt idx="11">
                  <c:v>2041</c:v>
                </c:pt>
                <c:pt idx="12">
                  <c:v>2042</c:v>
                </c:pt>
                <c:pt idx="13">
                  <c:v>2043</c:v>
                </c:pt>
                <c:pt idx="14">
                  <c:v>2044</c:v>
                </c:pt>
                <c:pt idx="15">
                  <c:v>2045</c:v>
                </c:pt>
                <c:pt idx="16">
                  <c:v>2046</c:v>
                </c:pt>
                <c:pt idx="17">
                  <c:v>2047</c:v>
                </c:pt>
                <c:pt idx="18">
                  <c:v>2048</c:v>
                </c:pt>
                <c:pt idx="19">
                  <c:v>2049</c:v>
                </c:pt>
                <c:pt idx="20">
                  <c:v>2050</c:v>
                </c:pt>
                <c:pt idx="21">
                  <c:v>2051</c:v>
                </c:pt>
                <c:pt idx="22">
                  <c:v>2052</c:v>
                </c:pt>
              </c:numCache>
            </c:numRef>
          </c:xVal>
          <c:yVal>
            <c:numRef>
              <c:f>Sheet1!$A$4:$W$4</c:f>
              <c:numCache>
                <c:formatCode>General</c:formatCode>
                <c:ptCount val="23"/>
                <c:pt idx="0">
                  <c:v>37.516311559035643</c:v>
                </c:pt>
                <c:pt idx="1">
                  <c:v>39.703181142347745</c:v>
                </c:pt>
                <c:pt idx="2">
                  <c:v>41.931751546797997</c:v>
                </c:pt>
                <c:pt idx="3">
                  <c:v>42.797578197601382</c:v>
                </c:pt>
                <c:pt idx="4">
                  <c:v>43.670900319319131</c:v>
                </c:pt>
                <c:pt idx="5">
                  <c:v>44.551762999759816</c:v>
                </c:pt>
                <c:pt idx="6">
                  <c:v>45.440211813385062</c:v>
                </c:pt>
                <c:pt idx="7">
                  <c:v>46.336292824175729</c:v>
                </c:pt>
                <c:pt idx="8">
                  <c:v>47.240052588536912</c:v>
                </c:pt>
                <c:pt idx="9">
                  <c:v>48.151538158241806</c:v>
                </c:pt>
                <c:pt idx="10">
                  <c:v>49.070797083414782</c:v>
                </c:pt>
                <c:pt idx="11">
                  <c:v>49.997877415553681</c:v>
                </c:pt>
                <c:pt idx="12">
                  <c:v>50.932827710592036</c:v>
                </c:pt>
                <c:pt idx="13">
                  <c:v>52.643345410964052</c:v>
                </c:pt>
                <c:pt idx="14">
                  <c:v>53.598191113398549</c:v>
                </c:pt>
                <c:pt idx="15">
                  <c:v>54.561085717854375</c:v>
                </c:pt>
                <c:pt idx="16">
                  <c:v>55.532079931866264</c:v>
                </c:pt>
                <c:pt idx="17">
                  <c:v>56.564721585980784</c:v>
                </c:pt>
                <c:pt idx="18">
                  <c:v>57.6115342648094</c:v>
                </c:pt>
                <c:pt idx="19">
                  <c:v>58.66600716743136</c:v>
                </c:pt>
                <c:pt idx="20">
                  <c:v>59.728199053681756</c:v>
                </c:pt>
                <c:pt idx="21">
                  <c:v>60.798169158845411</c:v>
                </c:pt>
                <c:pt idx="22">
                  <c:v>61.875977197722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8B68-419C-88DF-45AB78D9E7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5491752"/>
        <c:axId val="1"/>
      </c:scatterChart>
      <c:valAx>
        <c:axId val="1575491752"/>
        <c:scaling>
          <c:orientation val="minMax"/>
          <c:max val="2052"/>
          <c:min val="203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"/>
        <c:crosses val="min"/>
        <c:crossBetween val="midCat"/>
        <c:majorUnit val="2"/>
      </c:valAx>
      <c:valAx>
        <c:axId val="1"/>
        <c:scaling>
          <c:orientation val="minMax"/>
          <c:max val="1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575491752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449961802902976E-3"/>
          <c:y val="5.9907834101382486E-2"/>
          <c:w val="0.98411000763941936"/>
          <c:h val="0.88018433179723499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CEBF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BDC-4138-80AB-DD025EF44B6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BDC-4138-80AB-DD025EF44B67}"/>
              </c:ext>
            </c:extLst>
          </c:dPt>
          <c:val>
            <c:numRef>
              <c:f>Sheet1!$A$1:$H$1</c:f>
              <c:numCache>
                <c:formatCode>General</c:formatCode>
                <c:ptCount val="8"/>
                <c:pt idx="0">
                  <c:v>998500</c:v>
                </c:pt>
                <c:pt idx="1">
                  <c:v>998500</c:v>
                </c:pt>
                <c:pt idx="2">
                  <c:v>1709700</c:v>
                </c:pt>
                <c:pt idx="3">
                  <c:v>1888250</c:v>
                </c:pt>
                <c:pt idx="4">
                  <c:v>2185800</c:v>
                </c:pt>
                <c:pt idx="5">
                  <c:v>2272050</c:v>
                </c:pt>
                <c:pt idx="6">
                  <c:v>2722912.5</c:v>
                </c:pt>
                <c:pt idx="7">
                  <c:v>28255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BDC-4138-80AB-DD025EF44B67}"/>
            </c:ext>
          </c:extLst>
        </c:ser>
        <c:ser>
          <c:idx val="1"/>
          <c:order val="1"/>
          <c:spPr>
            <a:solidFill>
              <a:srgbClr val="CCEBFD"/>
            </a:solidFill>
            <a:ln>
              <a:noFill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1">
                  <c:v>711200</c:v>
                </c:pt>
                <c:pt idx="2">
                  <c:v>178550</c:v>
                </c:pt>
                <c:pt idx="3">
                  <c:v>297550</c:v>
                </c:pt>
                <c:pt idx="4">
                  <c:v>86250</c:v>
                </c:pt>
                <c:pt idx="5">
                  <c:v>450862.5</c:v>
                </c:pt>
                <c:pt idx="6">
                  <c:v>10263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BDC-4138-80AB-DD025EF44B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100"/>
        <c:axId val="1575542264"/>
        <c:axId val="1"/>
      </c:barChart>
      <c:catAx>
        <c:axId val="1575542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da-DK"/>
          </a:p>
        </c:txPr>
        <c:crossAx val="1575542264"/>
        <c:crosses val="min"/>
        <c:crossBetween val="between"/>
        <c:majorUnit val="1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564181398923908E-2"/>
          <c:y val="3.3162073797290983E-2"/>
          <c:w val="0.90038431975403532"/>
          <c:h val="0.87015413358243809"/>
        </c:manualLayout>
      </c:layout>
      <c:scatterChart>
        <c:scatterStyle val="lineMarker"/>
        <c:varyColors val="0"/>
        <c:ser>
          <c:idx val="0"/>
          <c:order val="0"/>
          <c:spPr>
            <a:ln w="7620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xVal>
          <c:yVal>
            <c:numRef>
              <c:f>Sheet1!$A$2:$H$2</c:f>
              <c:numCache>
                <c:formatCode>General</c:formatCode>
                <c:ptCount val="8"/>
                <c:pt idx="0">
                  <c:v>1425</c:v>
                </c:pt>
                <c:pt idx="1">
                  <c:v>1486</c:v>
                </c:pt>
                <c:pt idx="2">
                  <c:v>1789</c:v>
                </c:pt>
                <c:pt idx="3">
                  <c:v>1512</c:v>
                </c:pt>
                <c:pt idx="4">
                  <c:v>1498</c:v>
                </c:pt>
                <c:pt idx="5">
                  <c:v>1434</c:v>
                </c:pt>
                <c:pt idx="6">
                  <c:v>1251</c:v>
                </c:pt>
                <c:pt idx="7">
                  <c:v>13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198-4BA5-AFC0-40A6B560ED63}"/>
            </c:ext>
          </c:extLst>
        </c:ser>
        <c:ser>
          <c:idx val="1"/>
          <c:order val="1"/>
          <c:spPr>
            <a:ln w="7620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xVal>
          <c:yVal>
            <c:numRef>
              <c:f>Sheet1!$A$3:$H$3</c:f>
              <c:numCache>
                <c:formatCode>General</c:formatCode>
                <c:ptCount val="8"/>
                <c:pt idx="0">
                  <c:v>2790</c:v>
                </c:pt>
                <c:pt idx="1">
                  <c:v>2790</c:v>
                </c:pt>
                <c:pt idx="2">
                  <c:v>2790</c:v>
                </c:pt>
                <c:pt idx="3">
                  <c:v>3015</c:v>
                </c:pt>
                <c:pt idx="4">
                  <c:v>3213</c:v>
                </c:pt>
                <c:pt idx="5">
                  <c:v>3010</c:v>
                </c:pt>
                <c:pt idx="6">
                  <c:v>2806</c:v>
                </c:pt>
                <c:pt idx="7">
                  <c:v>291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198-4BA5-AFC0-40A6B560ED63}"/>
            </c:ext>
          </c:extLst>
        </c:ser>
        <c:ser>
          <c:idx val="2"/>
          <c:order val="2"/>
          <c:spPr>
            <a:ln w="7620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xVal>
          <c:yVal>
            <c:numRef>
              <c:f>Sheet1!$A$4:$H$4</c:f>
              <c:numCache>
                <c:formatCode>General</c:formatCode>
                <c:ptCount val="8"/>
                <c:pt idx="0">
                  <c:v>2841</c:v>
                </c:pt>
                <c:pt idx="1">
                  <c:v>2896</c:v>
                </c:pt>
                <c:pt idx="2">
                  <c:v>2956</c:v>
                </c:pt>
                <c:pt idx="3">
                  <c:v>3398</c:v>
                </c:pt>
                <c:pt idx="4">
                  <c:v>3390</c:v>
                </c:pt>
                <c:pt idx="5">
                  <c:v>3810</c:v>
                </c:pt>
                <c:pt idx="6">
                  <c:v>4483</c:v>
                </c:pt>
                <c:pt idx="7">
                  <c:v>50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198-4BA5-AFC0-40A6B560ED63}"/>
            </c:ext>
          </c:extLst>
        </c:ser>
        <c:ser>
          <c:idx val="3"/>
          <c:order val="3"/>
          <c:spPr>
            <a:ln w="76200" algn="ctr">
              <a:solidFill>
                <a:srgbClr val="009DF0"/>
              </a:solidFill>
              <a:prstDash val="solid"/>
            </a:ln>
          </c:spPr>
          <c:marker>
            <c:symbol val="none"/>
          </c:marker>
          <c:xVal>
            <c:numRef>
              <c:f>Sheet1!$A$1:$H$1</c:f>
              <c:numCache>
                <c:formatCode>General</c:formatCode>
                <c:ptCount val="8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</c:numCache>
            </c:numRef>
          </c:xVal>
          <c:yVal>
            <c:numRef>
              <c:f>Sheet1!$A$5:$H$5</c:f>
              <c:numCache>
                <c:formatCode>General</c:formatCode>
                <c:ptCount val="8"/>
                <c:pt idx="0">
                  <c:v>470</c:v>
                </c:pt>
                <c:pt idx="1">
                  <c:v>467</c:v>
                </c:pt>
                <c:pt idx="2">
                  <c:v>443</c:v>
                </c:pt>
                <c:pt idx="3">
                  <c:v>432</c:v>
                </c:pt>
                <c:pt idx="4">
                  <c:v>384</c:v>
                </c:pt>
                <c:pt idx="5">
                  <c:v>345</c:v>
                </c:pt>
                <c:pt idx="6">
                  <c:v>351</c:v>
                </c:pt>
                <c:pt idx="7">
                  <c:v>43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198-4BA5-AFC0-40A6B560ED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67802215"/>
        <c:axId val="1"/>
      </c:scatterChart>
      <c:valAx>
        <c:axId val="567802215"/>
        <c:scaling>
          <c:orientation val="minMax"/>
          <c:max val="2021"/>
          <c:min val="2014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"/>
        <c:crosses val="min"/>
        <c:crossBetween val="midCat"/>
        <c:majorUnit val="1"/>
      </c:valAx>
      <c:valAx>
        <c:axId val="1"/>
        <c:scaling>
          <c:orientation val="minMax"/>
          <c:max val="5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67802215"/>
        <c:crosses val="min"/>
        <c:crossBetween val="midCat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055666003976142"/>
          <c:y val="5.8690744920993229E-2"/>
          <c:w val="0.51822398939695158"/>
          <c:h val="0.8826185101580135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CCEBF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F55-4283-BAF9-EFEFEC7A5C69}"/>
              </c:ext>
            </c:extLst>
          </c:dPt>
          <c:dPt>
            <c:idx val="1"/>
            <c:bubble3D val="0"/>
            <c:spPr>
              <a:solidFill>
                <a:srgbClr val="009D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F55-4283-BAF9-EFEFEC7A5C69}"/>
              </c:ext>
            </c:extLst>
          </c:dPt>
          <c:dPt>
            <c:idx val="2"/>
            <c:bubble3D val="0"/>
            <c:spPr>
              <a:solidFill>
                <a:srgbClr val="0532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F55-4283-BAF9-EFEFEC7A5C69}"/>
              </c:ext>
            </c:extLst>
          </c:dPt>
          <c:dPt>
            <c:idx val="3"/>
            <c:bubble3D val="0"/>
            <c:spPr>
              <a:solidFill>
                <a:srgbClr val="ADD09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F55-4283-BAF9-EFEFEC7A5C69}"/>
              </c:ext>
            </c:extLst>
          </c:dPt>
          <c:dPt>
            <c:idx val="4"/>
            <c:bubble3D val="0"/>
            <c:spPr>
              <a:solidFill>
                <a:srgbClr val="125A4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F55-4283-BAF9-EFEFEC7A5C69}"/>
              </c:ext>
            </c:extLst>
          </c:dPt>
          <c:dLbls>
            <c:dLbl>
              <c:idx val="0"/>
              <c:layout>
                <c:manualLayout>
                  <c:x val="2.2531477799867462E-2"/>
                  <c:y val="-0.1106094808126410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F55-4283-BAF9-EFEFEC7A5C69}"/>
                </c:ext>
              </c:extLst>
            </c:dLbl>
            <c:dLbl>
              <c:idx val="1"/>
              <c:layout>
                <c:manualLayout>
                  <c:x val="5.6328694499668652E-2"/>
                  <c:y val="-1.241534988713318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F55-4283-BAF9-EFEFEC7A5C69}"/>
                </c:ext>
              </c:extLst>
            </c:dLbl>
            <c:dLbl>
              <c:idx val="2"/>
              <c:layout>
                <c:manualLayout>
                  <c:x val="-4.7713717693836977E-2"/>
                  <c:y val="4.401805869074491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F55-4283-BAF9-EFEFEC7A5C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10.597664300435081</c:v>
                </c:pt>
                <c:pt idx="1">
                  <c:v>24.574307304785894</c:v>
                </c:pt>
                <c:pt idx="2">
                  <c:v>63.784749255782003</c:v>
                </c:pt>
                <c:pt idx="3">
                  <c:v>0.37920769406915505</c:v>
                </c:pt>
                <c:pt idx="4">
                  <c:v>0.664071444927868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F55-4283-BAF9-EFEFEC7A5C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3989396951623593"/>
          <c:y val="5.8690744920993229E-2"/>
          <c:w val="0.51822398939695158"/>
          <c:h val="0.8826185101580135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CCEBF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2EF-47AA-98AC-FB5E74E8DC53}"/>
              </c:ext>
            </c:extLst>
          </c:dPt>
          <c:dPt>
            <c:idx val="1"/>
            <c:bubble3D val="0"/>
            <c:spPr>
              <a:solidFill>
                <a:srgbClr val="009D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2EF-47AA-98AC-FB5E74E8DC53}"/>
              </c:ext>
            </c:extLst>
          </c:dPt>
          <c:dPt>
            <c:idx val="2"/>
            <c:bubble3D val="0"/>
            <c:spPr>
              <a:solidFill>
                <a:srgbClr val="0532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2EF-47AA-98AC-FB5E74E8DC53}"/>
              </c:ext>
            </c:extLst>
          </c:dPt>
          <c:dPt>
            <c:idx val="3"/>
            <c:bubble3D val="0"/>
            <c:spPr>
              <a:solidFill>
                <a:srgbClr val="ADD09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2EF-47AA-98AC-FB5E74E8DC53}"/>
              </c:ext>
            </c:extLst>
          </c:dPt>
          <c:dPt>
            <c:idx val="4"/>
            <c:bubble3D val="0"/>
            <c:spPr>
              <a:solidFill>
                <a:srgbClr val="125A4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B2EF-47AA-98AC-FB5E74E8DC53}"/>
              </c:ext>
            </c:extLst>
          </c:dPt>
          <c:dLbls>
            <c:dLbl>
              <c:idx val="0"/>
              <c:layout>
                <c:manualLayout>
                  <c:x val="5.3677932405566599E-2"/>
                  <c:y val="2.257336343115124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2EF-47AA-98AC-FB5E74E8DC53}"/>
                </c:ext>
              </c:extLst>
            </c:dLbl>
            <c:dLbl>
              <c:idx val="2"/>
              <c:layout>
                <c:manualLayout>
                  <c:x val="-4.8376408217362492E-2"/>
                  <c:y val="4.1760722347629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2EF-47AA-98AC-FB5E74E8DC53}"/>
                </c:ext>
              </c:extLst>
            </c:dLbl>
            <c:dLbl>
              <c:idx val="3"/>
              <c:layout>
                <c:manualLayout>
                  <c:x val="-3.9761431411530816E-2"/>
                  <c:y val="-6.997742663656884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2EF-47AA-98AC-FB5E74E8DC5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57.966039992719146</c:v>
                </c:pt>
                <c:pt idx="1">
                  <c:v>0.32763866136204073</c:v>
                </c:pt>
                <c:pt idx="2">
                  <c:v>18.311360740567387</c:v>
                </c:pt>
                <c:pt idx="3">
                  <c:v>22.347036950360142</c:v>
                </c:pt>
                <c:pt idx="4">
                  <c:v>1.0479236549912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2EF-47AA-98AC-FB5E74E8DC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055666003976142"/>
          <c:y val="5.8690744920993229E-2"/>
          <c:w val="0.51822398939695158"/>
          <c:h val="0.8826185101580135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CCEBF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F30-4063-BEC9-FA8223D9A91F}"/>
              </c:ext>
            </c:extLst>
          </c:dPt>
          <c:dPt>
            <c:idx val="1"/>
            <c:bubble3D val="0"/>
            <c:spPr>
              <a:solidFill>
                <a:srgbClr val="009D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F30-4063-BEC9-FA8223D9A91F}"/>
              </c:ext>
            </c:extLst>
          </c:dPt>
          <c:dPt>
            <c:idx val="2"/>
            <c:bubble3D val="0"/>
            <c:spPr>
              <a:solidFill>
                <a:srgbClr val="0532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F30-4063-BEC9-FA8223D9A91F}"/>
              </c:ext>
            </c:extLst>
          </c:dPt>
          <c:dPt>
            <c:idx val="3"/>
            <c:bubble3D val="0"/>
            <c:spPr>
              <a:solidFill>
                <a:srgbClr val="ADD09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6F30-4063-BEC9-FA8223D9A91F}"/>
              </c:ext>
            </c:extLst>
          </c:dPt>
          <c:dPt>
            <c:idx val="4"/>
            <c:bubble3D val="0"/>
            <c:spPr>
              <a:solidFill>
                <a:srgbClr val="125A4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F30-4063-BEC9-FA8223D9A91F}"/>
              </c:ext>
            </c:extLst>
          </c:dPt>
          <c:dLbls>
            <c:dLbl>
              <c:idx val="0"/>
              <c:layout>
                <c:manualLayout>
                  <c:x val="4.7051027170311462E-2"/>
                  <c:y val="-4.627539503386004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F30-4063-BEC9-FA8223D9A91F}"/>
                </c:ext>
              </c:extLst>
            </c:dLbl>
            <c:dLbl>
              <c:idx val="1"/>
              <c:layout>
                <c:manualLayout>
                  <c:x val="1.2591119946984758E-2"/>
                  <c:y val="0.127539503386004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F30-4063-BEC9-FA8223D9A91F}"/>
                </c:ext>
              </c:extLst>
            </c:dLbl>
            <c:dLbl>
              <c:idx val="2"/>
              <c:layout>
                <c:manualLayout>
                  <c:x val="-5.4340622929092114E-2"/>
                  <c:y val="-2.14446952595936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F30-4063-BEC9-FA8223D9A9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33.207640172520023</c:v>
                </c:pt>
                <c:pt idx="1">
                  <c:v>28.10351201478743</c:v>
                </c:pt>
                <c:pt idx="2">
                  <c:v>34.597658656808377</c:v>
                </c:pt>
                <c:pt idx="3">
                  <c:v>1.1065927295132469</c:v>
                </c:pt>
                <c:pt idx="4">
                  <c:v>2.9845964263709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F30-4063-BEC9-FA8223D9A9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055666003976142"/>
          <c:y val="5.8690744920993229E-2"/>
          <c:w val="0.51822398939695158"/>
          <c:h val="0.8826185101580135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CCEBF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270-4879-9B11-77CFA0AB192C}"/>
              </c:ext>
            </c:extLst>
          </c:dPt>
          <c:dPt>
            <c:idx val="1"/>
            <c:bubble3D val="0"/>
            <c:spPr>
              <a:solidFill>
                <a:srgbClr val="009D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270-4879-9B11-77CFA0AB192C}"/>
              </c:ext>
            </c:extLst>
          </c:dPt>
          <c:dPt>
            <c:idx val="2"/>
            <c:bubble3D val="0"/>
            <c:spPr>
              <a:solidFill>
                <a:srgbClr val="0532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270-4879-9B11-77CFA0AB192C}"/>
              </c:ext>
            </c:extLst>
          </c:dPt>
          <c:dPt>
            <c:idx val="3"/>
            <c:bubble3D val="0"/>
            <c:spPr>
              <a:solidFill>
                <a:srgbClr val="ADD09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270-4879-9B11-77CFA0AB192C}"/>
              </c:ext>
            </c:extLst>
          </c:dPt>
          <c:dPt>
            <c:idx val="4"/>
            <c:bubble3D val="0"/>
            <c:spPr>
              <a:solidFill>
                <a:srgbClr val="125A4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270-4879-9B11-77CFA0AB192C}"/>
              </c:ext>
            </c:extLst>
          </c:dPt>
          <c:dLbls>
            <c:dLbl>
              <c:idx val="0"/>
              <c:layout>
                <c:manualLayout>
                  <c:x val="2.7833001988071572E-2"/>
                  <c:y val="-0.1004514672686230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270-4879-9B11-77CFA0AB192C}"/>
                </c:ext>
              </c:extLst>
            </c:dLbl>
            <c:dLbl>
              <c:idx val="1"/>
              <c:layout>
                <c:manualLayout>
                  <c:x val="5.2352551358515576E-2"/>
                  <c:y val="2.821670428893905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270-4879-9B11-77CFA0AB192C}"/>
                </c:ext>
              </c:extLst>
            </c:dLbl>
            <c:dLbl>
              <c:idx val="2"/>
              <c:layout>
                <c:manualLayout>
                  <c:x val="-5.3677932405566599E-2"/>
                  <c:y val="2.370203160270880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270-4879-9B11-77CFA0AB19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14.070408278033966</c:v>
                </c:pt>
                <c:pt idx="1">
                  <c:v>31.560004498931505</c:v>
                </c:pt>
                <c:pt idx="2">
                  <c:v>50.421774828478242</c:v>
                </c:pt>
                <c:pt idx="3">
                  <c:v>3.9478123945562928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270-4879-9B11-77CFA0AB19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596310596310596"/>
          <c:y val="3.8516405135520682E-2"/>
          <c:w val="0.84148434148434148"/>
          <c:h val="0.84926295767950544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rgbClr val="009DF0"/>
              </a:solidFill>
              <a:prstDash val="solid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2:$AO$2</c:f>
              <c:numCache>
                <c:formatCode>General</c:formatCode>
                <c:ptCount val="41"/>
                <c:pt idx="0">
                  <c:v>2723</c:v>
                </c:pt>
                <c:pt idx="1">
                  <c:v>2821</c:v>
                </c:pt>
                <c:pt idx="2">
                  <c:v>2931</c:v>
                </c:pt>
                <c:pt idx="3">
                  <c:v>2963</c:v>
                </c:pt>
                <c:pt idx="4">
                  <c:v>3014</c:v>
                </c:pt>
                <c:pt idx="5">
                  <c:v>3440</c:v>
                </c:pt>
                <c:pt idx="6">
                  <c:v>3402</c:v>
                </c:pt>
                <c:pt idx="7">
                  <c:v>3829</c:v>
                </c:pt>
                <c:pt idx="8">
                  <c:v>4487</c:v>
                </c:pt>
                <c:pt idx="9">
                  <c:v>5046</c:v>
                </c:pt>
                <c:pt idx="10">
                  <c:v>5162.0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9F8-40D5-9E59-B537F03C5ED7}"/>
            </c:ext>
          </c:extLst>
        </c:ser>
        <c:ser>
          <c:idx val="1"/>
          <c:order val="1"/>
          <c:spPr>
            <a:ln w="38100" algn="ctr">
              <a:solidFill>
                <a:srgbClr val="009DF0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3:$AO$3</c:f>
              <c:numCache>
                <c:formatCode>General</c:formatCode>
                <c:ptCount val="41"/>
                <c:pt idx="10">
                  <c:v>5162.058</c:v>
                </c:pt>
                <c:pt idx="11">
                  <c:v>5011.7821290860393</c:v>
                </c:pt>
                <c:pt idx="12">
                  <c:v>5127.0531180550179</c:v>
                </c:pt>
                <c:pt idx="13">
                  <c:v>5244.9753397702834</c:v>
                </c:pt>
                <c:pt idx="14">
                  <c:v>5365.6097725849995</c:v>
                </c:pt>
                <c:pt idx="15">
                  <c:v>5489.0187973544544</c:v>
                </c:pt>
                <c:pt idx="16">
                  <c:v>6262.9619192298987</c:v>
                </c:pt>
                <c:pt idx="17">
                  <c:v>6407.0100433721864</c:v>
                </c:pt>
                <c:pt idx="18">
                  <c:v>6554.3712743697461</c:v>
                </c:pt>
                <c:pt idx="19">
                  <c:v>6705.121813680249</c:v>
                </c:pt>
                <c:pt idx="20">
                  <c:v>6859.3396153948943</c:v>
                </c:pt>
                <c:pt idx="21">
                  <c:v>6934.7923511642375</c:v>
                </c:pt>
                <c:pt idx="22">
                  <c:v>7011.0750670270436</c:v>
                </c:pt>
                <c:pt idx="23">
                  <c:v>7088.1968927643402</c:v>
                </c:pt>
                <c:pt idx="24">
                  <c:v>7166.1670585847469</c:v>
                </c:pt>
                <c:pt idx="25">
                  <c:v>7244.9948962291783</c:v>
                </c:pt>
                <c:pt idx="26">
                  <c:v>7324.689840087698</c:v>
                </c:pt>
                <c:pt idx="27">
                  <c:v>7405.2614283286621</c:v>
                </c:pt>
                <c:pt idx="28">
                  <c:v>7486.7193040402763</c:v>
                </c:pt>
                <c:pt idx="29">
                  <c:v>7569.0732163847188</c:v>
                </c:pt>
                <c:pt idx="30">
                  <c:v>7652.33302176495</c:v>
                </c:pt>
                <c:pt idx="31">
                  <c:v>7717.6887048168564</c:v>
                </c:pt>
                <c:pt idx="32">
                  <c:v>7802.583280569841</c:v>
                </c:pt>
                <c:pt idx="33">
                  <c:v>7888.4116966561087</c:v>
                </c:pt>
                <c:pt idx="34">
                  <c:v>7975.1842253193245</c:v>
                </c:pt>
                <c:pt idx="35">
                  <c:v>8062.9112517978365</c:v>
                </c:pt>
                <c:pt idx="36">
                  <c:v>8151.6032755676124</c:v>
                </c:pt>
                <c:pt idx="37">
                  <c:v>8241.2709115988546</c:v>
                </c:pt>
                <c:pt idx="38">
                  <c:v>8331.9248916264423</c:v>
                </c:pt>
                <c:pt idx="39">
                  <c:v>8423.5760654343321</c:v>
                </c:pt>
                <c:pt idx="40">
                  <c:v>8516.235402154108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9F8-40D5-9E59-B537F03C5ED7}"/>
            </c:ext>
          </c:extLst>
        </c:ser>
        <c:ser>
          <c:idx val="2"/>
          <c:order val="2"/>
          <c:spPr>
            <a:ln w="38100" algn="ctr">
              <a:solidFill>
                <a:srgbClr val="CCEBFD"/>
              </a:solidFill>
              <a:prstDash val="solid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4:$AO$4</c:f>
              <c:numCache>
                <c:formatCode>General</c:formatCode>
                <c:ptCount val="41"/>
                <c:pt idx="0">
                  <c:v>2661</c:v>
                </c:pt>
                <c:pt idx="1">
                  <c:v>2570</c:v>
                </c:pt>
                <c:pt idx="2">
                  <c:v>2790</c:v>
                </c:pt>
                <c:pt idx="3">
                  <c:v>2790</c:v>
                </c:pt>
                <c:pt idx="4">
                  <c:v>2790</c:v>
                </c:pt>
                <c:pt idx="5">
                  <c:v>3015</c:v>
                </c:pt>
                <c:pt idx="6">
                  <c:v>3213</c:v>
                </c:pt>
                <c:pt idx="7">
                  <c:v>3010</c:v>
                </c:pt>
                <c:pt idx="8">
                  <c:v>2806</c:v>
                </c:pt>
                <c:pt idx="9">
                  <c:v>2913</c:v>
                </c:pt>
                <c:pt idx="10">
                  <c:v>2939.69609382279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E9F8-40D5-9E59-B537F03C5ED7}"/>
            </c:ext>
          </c:extLst>
        </c:ser>
        <c:ser>
          <c:idx val="3"/>
          <c:order val="3"/>
          <c:spPr>
            <a:ln w="38100" algn="ctr">
              <a:solidFill>
                <a:srgbClr val="CCEBFD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5:$AO$5</c:f>
              <c:numCache>
                <c:formatCode>General</c:formatCode>
                <c:ptCount val="41"/>
                <c:pt idx="10">
                  <c:v>2939.696093822793</c:v>
                </c:pt>
                <c:pt idx="11">
                  <c:v>2815.5163623407288</c:v>
                </c:pt>
                <c:pt idx="12">
                  <c:v>2830</c:v>
                </c:pt>
                <c:pt idx="13">
                  <c:v>2867.3582468090226</c:v>
                </c:pt>
                <c:pt idx="14">
                  <c:v>2893.6360582681277</c:v>
                </c:pt>
                <c:pt idx="15">
                  <c:v>3000</c:v>
                </c:pt>
                <c:pt idx="16">
                  <c:v>3200</c:v>
                </c:pt>
                <c:pt idx="17">
                  <c:v>3316.9519400493409</c:v>
                </c:pt>
                <c:pt idx="18">
                  <c:v>3347.3500382976254</c:v>
                </c:pt>
                <c:pt idx="19">
                  <c:v>3378.026718929319</c:v>
                </c:pt>
                <c:pt idx="20">
                  <c:v>3408.9845350036203</c:v>
                </c:pt>
                <c:pt idx="21">
                  <c:v>3440.2260629771554</c:v>
                </c:pt>
                <c:pt idx="22">
                  <c:v>3471.7539029184036</c:v>
                </c:pt>
                <c:pt idx="23">
                  <c:v>3503.5706787240879</c:v>
                </c:pt>
                <c:pt idx="24">
                  <c:v>3535.6790383375469</c:v>
                </c:pt>
                <c:pt idx="25">
                  <c:v>3568.0816539691091</c:v>
                </c:pt>
                <c:pt idx="26">
                  <c:v>3600.7812223184901</c:v>
                </c:pt>
                <c:pt idx="27">
                  <c:v>3633.7804647992202</c:v>
                </c:pt>
                <c:pt idx="28">
                  <c:v>3667.0821277651362</c:v>
                </c:pt>
                <c:pt idx="29">
                  <c:v>3700.6889827389455</c:v>
                </c:pt>
                <c:pt idx="30">
                  <c:v>3734.603826642885</c:v>
                </c:pt>
                <c:pt idx="31">
                  <c:v>3759.6613547702395</c:v>
                </c:pt>
                <c:pt idx="32">
                  <c:v>3794.1166490609621</c:v>
                </c:pt>
                <c:pt idx="33">
                  <c:v>3828.8877077763595</c:v>
                </c:pt>
                <c:pt idx="34">
                  <c:v>3863.9774247292385</c:v>
                </c:pt>
                <c:pt idx="35">
                  <c:v>3899.3887202526598</c:v>
                </c:pt>
                <c:pt idx="36">
                  <c:v>3935.1245414429814</c:v>
                </c:pt>
                <c:pt idx="37">
                  <c:v>3971.1878624051296</c:v>
                </c:pt>
                <c:pt idx="38">
                  <c:v>4007.5816845001186</c:v>
                </c:pt>
                <c:pt idx="39">
                  <c:v>4044.3090365948401</c:v>
                </c:pt>
                <c:pt idx="40">
                  <c:v>4081.372975314134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E9F8-40D5-9E59-B537F03C5ED7}"/>
            </c:ext>
          </c:extLst>
        </c:ser>
        <c:ser>
          <c:idx val="4"/>
          <c:order val="4"/>
          <c:spPr>
            <a:ln w="38100" algn="ctr">
              <a:solidFill>
                <a:srgbClr val="05326E"/>
              </a:solidFill>
              <a:prstDash val="solid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6:$AO$6</c:f>
              <c:numCache>
                <c:formatCode>General</c:formatCode>
                <c:ptCount val="41"/>
                <c:pt idx="0">
                  <c:v>1428</c:v>
                </c:pt>
                <c:pt idx="1">
                  <c:v>1484</c:v>
                </c:pt>
                <c:pt idx="2">
                  <c:v>1425</c:v>
                </c:pt>
                <c:pt idx="3">
                  <c:v>1486</c:v>
                </c:pt>
                <c:pt idx="4">
                  <c:v>1789</c:v>
                </c:pt>
                <c:pt idx="5">
                  <c:v>1512</c:v>
                </c:pt>
                <c:pt idx="6">
                  <c:v>1498</c:v>
                </c:pt>
                <c:pt idx="7">
                  <c:v>1434</c:v>
                </c:pt>
                <c:pt idx="8">
                  <c:v>1251</c:v>
                </c:pt>
                <c:pt idx="9">
                  <c:v>1332</c:v>
                </c:pt>
                <c:pt idx="10">
                  <c:v>1346.3855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E9F8-40D5-9E59-B537F03C5ED7}"/>
            </c:ext>
          </c:extLst>
        </c:ser>
        <c:ser>
          <c:idx val="5"/>
          <c:order val="5"/>
          <c:spPr>
            <a:ln w="38100" algn="ctr">
              <a:solidFill>
                <a:srgbClr val="05326E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7:$AO$7</c:f>
              <c:numCache>
                <c:formatCode>General</c:formatCode>
                <c:ptCount val="41"/>
                <c:pt idx="10">
                  <c:v>1346.3855999999998</c:v>
                </c:pt>
                <c:pt idx="11">
                  <c:v>1305</c:v>
                </c:pt>
                <c:pt idx="12">
                  <c:v>1305.5502557104708</c:v>
                </c:pt>
                <c:pt idx="13">
                  <c:v>1319.6501984721438</c:v>
                </c:pt>
                <c:pt idx="14">
                  <c:v>1333.9024206156428</c:v>
                </c:pt>
                <c:pt idx="15">
                  <c:v>1370</c:v>
                </c:pt>
                <c:pt idx="16">
                  <c:v>1490</c:v>
                </c:pt>
                <c:pt idx="17">
                  <c:v>1536.4880246091031</c:v>
                </c:pt>
                <c:pt idx="18">
                  <c:v>1553.0820952748813</c:v>
                </c:pt>
                <c:pt idx="19">
                  <c:v>1569.85538190385</c:v>
                </c:pt>
                <c:pt idx="20">
                  <c:v>1586.8098200284112</c:v>
                </c:pt>
                <c:pt idx="21">
                  <c:v>1603.9473660847182</c:v>
                </c:pt>
                <c:pt idx="22">
                  <c:v>1621.2699976384329</c:v>
                </c:pt>
                <c:pt idx="23">
                  <c:v>1638.7797136129279</c:v>
                </c:pt>
                <c:pt idx="24">
                  <c:v>1656.4785345199473</c:v>
                </c:pt>
                <c:pt idx="25">
                  <c:v>1674.3685026927628</c:v>
                </c:pt>
                <c:pt idx="26">
                  <c:v>1692.4516825218445</c:v>
                </c:pt>
                <c:pt idx="27">
                  <c:v>1710.7301606930803</c:v>
                </c:pt>
                <c:pt idx="28">
                  <c:v>1729.2060464285655</c:v>
                </c:pt>
                <c:pt idx="29">
                  <c:v>1747.8814717299938</c:v>
                </c:pt>
                <c:pt idx="30">
                  <c:v>1766.7585916246776</c:v>
                </c:pt>
                <c:pt idx="31">
                  <c:v>1781.4953166100804</c:v>
                </c:pt>
                <c:pt idx="32">
                  <c:v>1800.7354660294691</c:v>
                </c:pt>
                <c:pt idx="33">
                  <c:v>1820.1834090625873</c:v>
                </c:pt>
                <c:pt idx="34">
                  <c:v>1839.8413898804631</c:v>
                </c:pt>
                <c:pt idx="35">
                  <c:v>1859.7116768911719</c:v>
                </c:pt>
                <c:pt idx="36">
                  <c:v>1879.7965630015965</c:v>
                </c:pt>
                <c:pt idx="37">
                  <c:v>1900.0983658820135</c:v>
                </c:pt>
                <c:pt idx="38">
                  <c:v>1920.6194282335391</c:v>
                </c:pt>
                <c:pt idx="39">
                  <c:v>1941.3621180584612</c:v>
                </c:pt>
                <c:pt idx="40">
                  <c:v>1962.32882893349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E9F8-40D5-9E59-B537F03C5ED7}"/>
            </c:ext>
          </c:extLst>
        </c:ser>
        <c:ser>
          <c:idx val="6"/>
          <c:order val="6"/>
          <c:spPr>
            <a:ln w="38100" algn="ctr">
              <a:solidFill>
                <a:srgbClr val="ADD095"/>
              </a:solidFill>
              <a:prstDash val="solid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8:$AO$8</c:f>
              <c:numCache>
                <c:formatCode>General</c:formatCode>
                <c:ptCount val="41"/>
                <c:pt idx="0">
                  <c:v>1458</c:v>
                </c:pt>
                <c:pt idx="1">
                  <c:v>1184</c:v>
                </c:pt>
                <c:pt idx="2">
                  <c:v>470</c:v>
                </c:pt>
                <c:pt idx="3">
                  <c:v>467</c:v>
                </c:pt>
                <c:pt idx="4">
                  <c:v>443</c:v>
                </c:pt>
                <c:pt idx="5">
                  <c:v>432</c:v>
                </c:pt>
                <c:pt idx="6">
                  <c:v>384</c:v>
                </c:pt>
                <c:pt idx="7">
                  <c:v>345</c:v>
                </c:pt>
                <c:pt idx="8">
                  <c:v>351</c:v>
                </c:pt>
                <c:pt idx="9">
                  <c:v>430</c:v>
                </c:pt>
                <c:pt idx="10">
                  <c:v>443.271737609212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E9F8-40D5-9E59-B537F03C5ED7}"/>
            </c:ext>
          </c:extLst>
        </c:ser>
        <c:ser>
          <c:idx val="7"/>
          <c:order val="7"/>
          <c:spPr>
            <a:ln w="38100" algn="ctr">
              <a:solidFill>
                <a:srgbClr val="ADD095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9:$AO$9</c:f>
              <c:numCache>
                <c:formatCode>General</c:formatCode>
                <c:ptCount val="41"/>
                <c:pt idx="10">
                  <c:v>443.27173760921289</c:v>
                </c:pt>
                <c:pt idx="11">
                  <c:v>424.89839004835358</c:v>
                </c:pt>
                <c:pt idx="12">
                  <c:v>429.14737394883713</c:v>
                </c:pt>
                <c:pt idx="13">
                  <c:v>433.4388476883255</c:v>
                </c:pt>
                <c:pt idx="14">
                  <c:v>437.7732361652088</c:v>
                </c:pt>
                <c:pt idx="15">
                  <c:v>442.15096852686088</c:v>
                </c:pt>
                <c:pt idx="16">
                  <c:v>498.08260388952203</c:v>
                </c:pt>
                <c:pt idx="17">
                  <c:v>503.06342992841724</c:v>
                </c:pt>
                <c:pt idx="18">
                  <c:v>508.09406422770144</c:v>
                </c:pt>
                <c:pt idx="19">
                  <c:v>513.17500486997847</c:v>
                </c:pt>
                <c:pt idx="20">
                  <c:v>518.30675491867828</c:v>
                </c:pt>
                <c:pt idx="21">
                  <c:v>523.489822467865</c:v>
                </c:pt>
                <c:pt idx="22">
                  <c:v>528.72472069254366</c:v>
                </c:pt>
                <c:pt idx="23">
                  <c:v>534.01196789946914</c:v>
                </c:pt>
                <c:pt idx="24">
                  <c:v>539.35208757846374</c:v>
                </c:pt>
                <c:pt idx="25">
                  <c:v>544.74560845424844</c:v>
                </c:pt>
                <c:pt idx="26">
                  <c:v>550.19306453879096</c:v>
                </c:pt>
                <c:pt idx="27">
                  <c:v>555.69499518417877</c:v>
                </c:pt>
                <c:pt idx="28">
                  <c:v>561.25194513602059</c:v>
                </c:pt>
                <c:pt idx="29">
                  <c:v>566.86446458738089</c:v>
                </c:pt>
                <c:pt idx="30">
                  <c:v>572.53310923325478</c:v>
                </c:pt>
                <c:pt idx="31">
                  <c:v>576.85175769479281</c:v>
                </c:pt>
                <c:pt idx="32">
                  <c:v>582.62027527174064</c:v>
                </c:pt>
                <c:pt idx="33">
                  <c:v>588.4464780244582</c:v>
                </c:pt>
                <c:pt idx="34">
                  <c:v>594.33094280470266</c:v>
                </c:pt>
                <c:pt idx="35">
                  <c:v>600.27425223274975</c:v>
                </c:pt>
                <c:pt idx="36">
                  <c:v>606.27699475507723</c:v>
                </c:pt>
                <c:pt idx="37">
                  <c:v>612.33976470262792</c:v>
                </c:pt>
                <c:pt idx="38">
                  <c:v>618.46316234965423</c:v>
                </c:pt>
                <c:pt idx="39">
                  <c:v>624.64779397315078</c:v>
                </c:pt>
                <c:pt idx="40">
                  <c:v>630.8942719128823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E9F8-40D5-9E59-B537F03C5ED7}"/>
            </c:ext>
          </c:extLst>
        </c:ser>
        <c:ser>
          <c:idx val="8"/>
          <c:order val="8"/>
          <c:spPr>
            <a:ln w="38100" algn="ctr">
              <a:solidFill>
                <a:schemeClr val="tx1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10:$AO$10</c:f>
              <c:numCache>
                <c:formatCode>General</c:formatCode>
                <c:ptCount val="41"/>
                <c:pt idx="10">
                  <c:v>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E9F8-40D5-9E59-B537F03C5E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45967368"/>
        <c:axId val="1"/>
      </c:scatterChart>
      <c:valAx>
        <c:axId val="945967368"/>
        <c:scaling>
          <c:orientation val="minMax"/>
          <c:max val="2055"/>
          <c:min val="201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"/>
        <c:crosses val="min"/>
        <c:crossBetween val="midCat"/>
        <c:majorUnit val="5"/>
      </c:valAx>
      <c:valAx>
        <c:axId val="1"/>
        <c:scaling>
          <c:orientation val="minMax"/>
          <c:max val="9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945967368"/>
        <c:crosses val="min"/>
        <c:crossBetween val="midCat"/>
        <c:majorUnit val="1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810595272002279E-2"/>
          <c:y val="2.5527736867943053E-2"/>
          <c:w val="0.97037880945599542"/>
          <c:h val="0.94894452626411385"/>
        </c:manualLayout>
      </c:layout>
      <c:scatterChart>
        <c:scatterStyle val="lineMarker"/>
        <c:varyColors val="0"/>
        <c:ser>
          <c:idx val="0"/>
          <c:order val="0"/>
          <c:spPr>
            <a:ln w="3810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2:$AO$2</c:f>
              <c:numCache>
                <c:formatCode>General</c:formatCode>
                <c:ptCount val="41"/>
                <c:pt idx="0">
                  <c:v>366.67423014586711</c:v>
                </c:pt>
                <c:pt idx="1">
                  <c:v>464.67423014586711</c:v>
                </c:pt>
                <c:pt idx="2">
                  <c:v>574.67423014586711</c:v>
                </c:pt>
                <c:pt idx="3">
                  <c:v>606.67423014586711</c:v>
                </c:pt>
                <c:pt idx="4">
                  <c:v>657.67423014586711</c:v>
                </c:pt>
                <c:pt idx="5">
                  <c:v>1083.6742301458671</c:v>
                </c:pt>
                <c:pt idx="6">
                  <c:v>1045.6742301458671</c:v>
                </c:pt>
                <c:pt idx="7">
                  <c:v>1472.6742301458671</c:v>
                </c:pt>
                <c:pt idx="8">
                  <c:v>2130.6742301458671</c:v>
                </c:pt>
                <c:pt idx="9">
                  <c:v>2689.6742301458671</c:v>
                </c:pt>
                <c:pt idx="10">
                  <c:v>2805.732230145867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A1A-4A18-8330-DB3CC6B597F9}"/>
            </c:ext>
          </c:extLst>
        </c:ser>
        <c:ser>
          <c:idx val="1"/>
          <c:order val="1"/>
          <c:spPr>
            <a:ln w="19050" algn="ctr">
              <a:solidFill>
                <a:schemeClr val="accent5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3:$AO$3</c:f>
              <c:numCache>
                <c:formatCode>General</c:formatCode>
                <c:ptCount val="41"/>
                <c:pt idx="0">
                  <c:v>2805.7322301458671</c:v>
                </c:pt>
                <c:pt idx="1">
                  <c:v>2805.7322301458671</c:v>
                </c:pt>
                <c:pt idx="2">
                  <c:v>2805.7322301458671</c:v>
                </c:pt>
                <c:pt idx="3">
                  <c:v>2805.7322301458671</c:v>
                </c:pt>
                <c:pt idx="4">
                  <c:v>2805.7322301458671</c:v>
                </c:pt>
                <c:pt idx="5">
                  <c:v>2805.7322301458671</c:v>
                </c:pt>
                <c:pt idx="6">
                  <c:v>2805.7322301458671</c:v>
                </c:pt>
                <c:pt idx="7">
                  <c:v>2805.7322301458671</c:v>
                </c:pt>
                <c:pt idx="8">
                  <c:v>2805.7322301458671</c:v>
                </c:pt>
                <c:pt idx="9">
                  <c:v>2805.7322301458671</c:v>
                </c:pt>
                <c:pt idx="10">
                  <c:v>2805.7322301458671</c:v>
                </c:pt>
                <c:pt idx="11">
                  <c:v>2805.7322301458671</c:v>
                </c:pt>
                <c:pt idx="12">
                  <c:v>2805.7322301458671</c:v>
                </c:pt>
                <c:pt idx="13">
                  <c:v>2805.7322301458671</c:v>
                </c:pt>
                <c:pt idx="14">
                  <c:v>2805.7322301458671</c:v>
                </c:pt>
                <c:pt idx="15">
                  <c:v>2805.7322301458671</c:v>
                </c:pt>
                <c:pt idx="16">
                  <c:v>3092.5132301458671</c:v>
                </c:pt>
                <c:pt idx="17">
                  <c:v>3092.5132301458671</c:v>
                </c:pt>
                <c:pt idx="18">
                  <c:v>3092.5132301458671</c:v>
                </c:pt>
                <c:pt idx="19">
                  <c:v>3092.5132301458671</c:v>
                </c:pt>
                <c:pt idx="20">
                  <c:v>3092.5132301458671</c:v>
                </c:pt>
                <c:pt idx="21">
                  <c:v>3809.4657301458674</c:v>
                </c:pt>
                <c:pt idx="22">
                  <c:v>3809.4657301458674</c:v>
                </c:pt>
                <c:pt idx="23">
                  <c:v>3809.4657301458674</c:v>
                </c:pt>
                <c:pt idx="24">
                  <c:v>3809.4657301458674</c:v>
                </c:pt>
                <c:pt idx="25">
                  <c:v>3809.4657301458674</c:v>
                </c:pt>
                <c:pt idx="26">
                  <c:v>5673.5422301458675</c:v>
                </c:pt>
                <c:pt idx="27">
                  <c:v>5673.5422301458675</c:v>
                </c:pt>
                <c:pt idx="28">
                  <c:v>5673.5422301458675</c:v>
                </c:pt>
                <c:pt idx="29">
                  <c:v>5673.5422301458675</c:v>
                </c:pt>
                <c:pt idx="30">
                  <c:v>5673.5422301458675</c:v>
                </c:pt>
                <c:pt idx="31">
                  <c:v>5673.5422301458675</c:v>
                </c:pt>
                <c:pt idx="32">
                  <c:v>5673.5422301458675</c:v>
                </c:pt>
                <c:pt idx="33">
                  <c:v>5673.5422301458675</c:v>
                </c:pt>
                <c:pt idx="34">
                  <c:v>5673.5422301458675</c:v>
                </c:pt>
                <c:pt idx="35">
                  <c:v>5673.5422301458675</c:v>
                </c:pt>
                <c:pt idx="36">
                  <c:v>5673.5422301458675</c:v>
                </c:pt>
                <c:pt idx="37">
                  <c:v>5673.5422301458675</c:v>
                </c:pt>
                <c:pt idx="38">
                  <c:v>5673.5422301458675</c:v>
                </c:pt>
                <c:pt idx="39">
                  <c:v>5673.5422301458675</c:v>
                </c:pt>
                <c:pt idx="40">
                  <c:v>5673.542230145867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A1A-4A18-8330-DB3CC6B597F9}"/>
            </c:ext>
          </c:extLst>
        </c:ser>
        <c:ser>
          <c:idx val="2"/>
          <c:order val="2"/>
          <c:spPr>
            <a:ln w="19050" algn="ctr">
              <a:solidFill>
                <a:schemeClr val="accent5"/>
              </a:solidFill>
              <a:prstDash val="lgDash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4:$AO$4</c:f>
              <c:numCache>
                <c:formatCode>General</c:formatCode>
                <c:ptCount val="41"/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A1A-4A18-8330-DB3CC6B597F9}"/>
            </c:ext>
          </c:extLst>
        </c:ser>
        <c:ser>
          <c:idx val="3"/>
          <c:order val="3"/>
          <c:spPr>
            <a:ln w="38100" algn="ctr">
              <a:solidFill>
                <a:srgbClr val="009DF0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5:$AO$5</c:f>
              <c:numCache>
                <c:formatCode>General</c:formatCode>
                <c:ptCount val="41"/>
                <c:pt idx="10">
                  <c:v>2805.7322301458671</c:v>
                </c:pt>
                <c:pt idx="11">
                  <c:v>2655.4563592319064</c:v>
                </c:pt>
                <c:pt idx="12">
                  <c:v>2770.727348200885</c:v>
                </c:pt>
                <c:pt idx="13">
                  <c:v>2888.6495699161505</c:v>
                </c:pt>
                <c:pt idx="14">
                  <c:v>3009.2840027308666</c:v>
                </c:pt>
                <c:pt idx="15">
                  <c:v>3132.6930275003215</c:v>
                </c:pt>
                <c:pt idx="16">
                  <c:v>3906.6361493757659</c:v>
                </c:pt>
                <c:pt idx="17">
                  <c:v>4050.6842735180535</c:v>
                </c:pt>
                <c:pt idx="18">
                  <c:v>4198.0455045156132</c:v>
                </c:pt>
                <c:pt idx="19">
                  <c:v>4348.7960438261161</c:v>
                </c:pt>
                <c:pt idx="20">
                  <c:v>4503.0138455407614</c:v>
                </c:pt>
                <c:pt idx="21">
                  <c:v>4578.4665813101046</c:v>
                </c:pt>
                <c:pt idx="22">
                  <c:v>4654.7492971729107</c:v>
                </c:pt>
                <c:pt idx="23">
                  <c:v>4731.8711229102073</c:v>
                </c:pt>
                <c:pt idx="24">
                  <c:v>4809.841288730614</c:v>
                </c:pt>
                <c:pt idx="25">
                  <c:v>4888.6691263750454</c:v>
                </c:pt>
                <c:pt idx="26">
                  <c:v>4968.3640702335651</c:v>
                </c:pt>
                <c:pt idx="27">
                  <c:v>5048.9356584745292</c:v>
                </c:pt>
                <c:pt idx="28">
                  <c:v>5130.3935341861434</c:v>
                </c:pt>
                <c:pt idx="29">
                  <c:v>5212.7474465305859</c:v>
                </c:pt>
                <c:pt idx="30">
                  <c:v>5296.0072519108171</c:v>
                </c:pt>
                <c:pt idx="31">
                  <c:v>5361.3629349627236</c:v>
                </c:pt>
                <c:pt idx="32">
                  <c:v>5446.2575107157081</c:v>
                </c:pt>
                <c:pt idx="33">
                  <c:v>5532.0859268019758</c:v>
                </c:pt>
                <c:pt idx="34">
                  <c:v>5618.8584554651916</c:v>
                </c:pt>
                <c:pt idx="35">
                  <c:v>5706.5854819437036</c:v>
                </c:pt>
                <c:pt idx="36">
                  <c:v>5795.2775057134795</c:v>
                </c:pt>
                <c:pt idx="37">
                  <c:v>5884.9451417447217</c:v>
                </c:pt>
                <c:pt idx="38">
                  <c:v>5975.5991217723094</c:v>
                </c:pt>
                <c:pt idx="39">
                  <c:v>6067.2502955801992</c:v>
                </c:pt>
                <c:pt idx="40">
                  <c:v>6159.909632299975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A1A-4A18-8330-DB3CC6B597F9}"/>
            </c:ext>
          </c:extLst>
        </c:ser>
        <c:ser>
          <c:idx val="4"/>
          <c:order val="4"/>
          <c:spPr>
            <a:ln w="38100" algn="ctr">
              <a:solidFill>
                <a:srgbClr val="ADD095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6:$AO$6</c:f>
              <c:numCache>
                <c:formatCode>General</c:formatCode>
                <c:ptCount val="41"/>
                <c:pt idx="10">
                  <c:v>2805.7322301458671</c:v>
                </c:pt>
                <c:pt idx="11">
                  <c:v>2797.8109736815859</c:v>
                </c:pt>
                <c:pt idx="12">
                  <c:v>2940.0651478031723</c:v>
                </c:pt>
                <c:pt idx="13">
                  <c:v>3086.2455371305141</c:v>
                </c:pt>
                <c:pt idx="14">
                  <c:v>3236.4605052032912</c:v>
                </c:pt>
                <c:pt idx="15">
                  <c:v>3390.8214063948762</c:v>
                </c:pt>
                <c:pt idx="16">
                  <c:v>4292.1722106810239</c:v>
                </c:pt>
                <c:pt idx="17">
                  <c:v>4475.6707549437951</c:v>
                </c:pt>
                <c:pt idx="18">
                  <c:v>4664.2338590282179</c:v>
                </c:pt>
                <c:pt idx="19">
                  <c:v>4858.0013047853718</c:v>
                </c:pt>
                <c:pt idx="20">
                  <c:v>5057.1167320454224</c:v>
                </c:pt>
                <c:pt idx="21">
                  <c:v>5172.7664350750556</c:v>
                </c:pt>
                <c:pt idx="22">
                  <c:v>5290.2202734719522</c:v>
                </c:pt>
                <c:pt idx="23">
                  <c:v>5409.5063917478392</c:v>
                </c:pt>
                <c:pt idx="24">
                  <c:v>5530.653373468831</c:v>
                </c:pt>
                <c:pt idx="25">
                  <c:v>5653.6902481046691</c:v>
                </c:pt>
                <c:pt idx="26">
                  <c:v>5778.646497984827</c:v>
                </c:pt>
                <c:pt idx="27">
                  <c:v>5905.5520653631156</c:v>
                </c:pt>
                <c:pt idx="28">
                  <c:v>6034.4373595925063</c:v>
                </c:pt>
                <c:pt idx="29">
                  <c:v>6165.3332644118727</c:v>
                </c:pt>
                <c:pt idx="30">
                  <c:v>6298.2711453464235</c:v>
                </c:pt>
                <c:pt idx="31">
                  <c:v>6375.4271846697211</c:v>
                </c:pt>
                <c:pt idx="32">
                  <c:v>6511.6425307602931</c:v>
                </c:pt>
                <c:pt idx="33">
                  <c:v>6649.9828362498793</c:v>
                </c:pt>
                <c:pt idx="34">
                  <c:v>6790.4812505051032</c:v>
                </c:pt>
                <c:pt idx="35">
                  <c:v>6933.1714400227065</c:v>
                </c:pt>
                <c:pt idx="36">
                  <c:v>7078.0875964967872</c:v>
                </c:pt>
                <c:pt idx="37">
                  <c:v>7225.2644450118623</c:v>
                </c:pt>
                <c:pt idx="38">
                  <c:v>7374.7372523637714</c:v>
                </c:pt>
                <c:pt idx="39">
                  <c:v>7526.541835510372</c:v>
                </c:pt>
                <c:pt idx="40">
                  <c:v>7680.714570154059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A1A-4A18-8330-DB3CC6B597F9}"/>
            </c:ext>
          </c:extLst>
        </c:ser>
        <c:ser>
          <c:idx val="5"/>
          <c:order val="5"/>
          <c:spPr>
            <a:ln w="38100" algn="ctr">
              <a:solidFill>
                <a:srgbClr val="62294B"/>
              </a:solidFill>
              <a:prstDash val="sysDot"/>
            </a:ln>
          </c:spPr>
          <c:marker>
            <c:symbol val="none"/>
          </c:marker>
          <c:xVal>
            <c:numRef>
              <c:f>Sheet1!$A$1:$AO$1</c:f>
              <c:numCache>
                <c:formatCode>General</c:formatCode>
                <c:ptCount val="4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</c:v>
                </c:pt>
                <c:pt idx="13">
                  <c:v>2025</c:v>
                </c:pt>
                <c:pt idx="14">
                  <c:v>2026</c:v>
                </c:pt>
                <c:pt idx="15">
                  <c:v>2027</c:v>
                </c:pt>
                <c:pt idx="16">
                  <c:v>2028</c:v>
                </c:pt>
                <c:pt idx="17">
                  <c:v>2029</c:v>
                </c:pt>
                <c:pt idx="18">
                  <c:v>2030</c:v>
                </c:pt>
                <c:pt idx="19">
                  <c:v>2031</c:v>
                </c:pt>
                <c:pt idx="20">
                  <c:v>2032</c:v>
                </c:pt>
                <c:pt idx="21">
                  <c:v>2033</c:v>
                </c:pt>
                <c:pt idx="22">
                  <c:v>2034</c:v>
                </c:pt>
                <c:pt idx="23">
                  <c:v>2035</c:v>
                </c:pt>
                <c:pt idx="24">
                  <c:v>2036</c:v>
                </c:pt>
                <c:pt idx="25">
                  <c:v>2037</c:v>
                </c:pt>
                <c:pt idx="26">
                  <c:v>2038</c:v>
                </c:pt>
                <c:pt idx="27">
                  <c:v>2039</c:v>
                </c:pt>
                <c:pt idx="28">
                  <c:v>2040</c:v>
                </c:pt>
                <c:pt idx="29">
                  <c:v>2041</c:v>
                </c:pt>
                <c:pt idx="30">
                  <c:v>2042</c:v>
                </c:pt>
                <c:pt idx="31">
                  <c:v>2043</c:v>
                </c:pt>
                <c:pt idx="32">
                  <c:v>2044</c:v>
                </c:pt>
                <c:pt idx="33">
                  <c:v>2045</c:v>
                </c:pt>
                <c:pt idx="34">
                  <c:v>2046</c:v>
                </c:pt>
                <c:pt idx="35">
                  <c:v>2047</c:v>
                </c:pt>
                <c:pt idx="36">
                  <c:v>2048</c:v>
                </c:pt>
                <c:pt idx="37">
                  <c:v>2049</c:v>
                </c:pt>
                <c:pt idx="38">
                  <c:v>2050</c:v>
                </c:pt>
                <c:pt idx="39">
                  <c:v>2051</c:v>
                </c:pt>
                <c:pt idx="40">
                  <c:v>2052</c:v>
                </c:pt>
              </c:numCache>
            </c:numRef>
          </c:xVal>
          <c:yVal>
            <c:numRef>
              <c:f>Sheet1!$A$7:$AO$7</c:f>
              <c:numCache>
                <c:formatCode>General</c:formatCode>
                <c:ptCount val="41"/>
                <c:pt idx="10">
                  <c:v>2805.7322301458671</c:v>
                </c:pt>
                <c:pt idx="11">
                  <c:v>2395.4284534700719</c:v>
                </c:pt>
                <c:pt idx="12">
                  <c:v>2482.8607311792366</c:v>
                </c:pt>
                <c:pt idx="13">
                  <c:v>2571.9017627982512</c:v>
                </c:pt>
                <c:pt idx="14">
                  <c:v>2662.581149399055</c:v>
                </c:pt>
                <c:pt idx="15">
                  <c:v>2754.9290367133135</c:v>
                </c:pt>
                <c:pt idx="16">
                  <c:v>3332.7966250977297</c:v>
                </c:pt>
                <c:pt idx="17">
                  <c:v>3437.4764771648443</c:v>
                </c:pt>
                <c:pt idx="18">
                  <c:v>3544.0824385099932</c:v>
                </c:pt>
                <c:pt idx="19">
                  <c:v>3652.6499495438929</c:v>
                </c:pt>
                <c:pt idx="20">
                  <c:v>3763.2151027808159</c:v>
                </c:pt>
                <c:pt idx="21">
                  <c:v>3802.3801643656798</c:v>
                </c:pt>
                <c:pt idx="22">
                  <c:v>3841.795882344687</c:v>
                </c:pt>
                <c:pt idx="23">
                  <c:v>3881.4638609187587</c:v>
                </c:pt>
                <c:pt idx="24">
                  <c:v>3921.3857145557049</c:v>
                </c:pt>
                <c:pt idx="25">
                  <c:v>3961.563068055927</c:v>
                </c:pt>
                <c:pt idx="26">
                  <c:v>4001.9975566185522</c:v>
                </c:pt>
                <c:pt idx="27">
                  <c:v>4042.6908259079764</c:v>
                </c:pt>
                <c:pt idx="28">
                  <c:v>4083.6445321208539</c:v>
                </c:pt>
                <c:pt idx="29">
                  <c:v>4124.8603420534937</c:v>
                </c:pt>
                <c:pt idx="30">
                  <c:v>4166.3399331697019</c:v>
                </c:pt>
                <c:pt idx="31">
                  <c:v>4252.4392156322765</c:v>
                </c:pt>
                <c:pt idx="32">
                  <c:v>4294.7353115393898</c:v>
                </c:pt>
                <c:pt idx="33">
                  <c:v>4337.3021024603077</c:v>
                </c:pt>
                <c:pt idx="34">
                  <c:v>4380.1413208431204</c:v>
                </c:pt>
                <c:pt idx="35">
                  <c:v>4423.2547102235822</c:v>
                </c:pt>
                <c:pt idx="36">
                  <c:v>4466.6440252960783</c:v>
                </c:pt>
                <c:pt idx="37">
                  <c:v>4510.3110319850393</c:v>
                </c:pt>
                <c:pt idx="38">
                  <c:v>4554.2575075168097</c:v>
                </c:pt>
                <c:pt idx="39">
                  <c:v>4598.4852404919829</c:v>
                </c:pt>
                <c:pt idx="40">
                  <c:v>4642.996030958198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A1A-4A18-8330-DB3CC6B597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77648664"/>
        <c:axId val="1"/>
      </c:scatterChart>
      <c:valAx>
        <c:axId val="1277648664"/>
        <c:scaling>
          <c:orientation val="minMax"/>
          <c:max val="2055"/>
          <c:min val="201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+mn-lt"/>
                <a:ea typeface="+mn-ea"/>
                <a:cs typeface="+mn-cs"/>
              </a:defRPr>
            </a:pPr>
            <a:endParaRPr lang="da-DK"/>
          </a:p>
        </c:txPr>
        <c:crossAx val="1"/>
        <c:crosses val="min"/>
        <c:crossBetween val="midCat"/>
        <c:majorUnit val="5"/>
      </c:valAx>
      <c:valAx>
        <c:axId val="1"/>
        <c:scaling>
          <c:orientation val="minMax"/>
          <c:max val="8643.674230145867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277648664"/>
        <c:crosses val="min"/>
        <c:crossBetween val="midCat"/>
        <c:majorUnit val="1000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61ADCD-0986-466F-BCF4-F140374402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AD45B1-DDA3-4823-B57F-398ED6D7CE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42B987-EC31-4746-B4E6-062CD7AA3A1A}" type="datetime1">
              <a:rPr lang="en-GB" smtClean="0"/>
              <a:t>13/01/2023</a:t>
            </a:fld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B3C53-DC75-4A5C-81E7-5D7CB96E12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F6EE6-6533-46A0-A8FB-DBC252423243}" type="slidenum">
              <a:rPr lang="en-GB" smtClean="0"/>
              <a:t>‹nr.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1B013-C79C-4BAB-9591-CE1E1BF2A9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838611-CB23-4A11-B466-01829FB3E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777607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1B1D025B-ACD2-45C1-B156-1DDB470CE319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F8BE06-C1AD-4FF4-9212-678516BAB9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6909" y="4777194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410225-CB48-4A2A-9739-463AD2DBC3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668863D3-1D0C-412C-99BB-873840116A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a-DK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5E44B7E2-ED93-42BE-81A6-FE398D91C1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691570-C65F-4C66-9CB2-8798BF7E897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1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049006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10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26293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29490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12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5210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13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50193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221557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868514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4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515988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5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135670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6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699354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7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100114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8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001690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da-DK" smtClean="0"/>
              <a:pPr/>
              <a:t>9</a:t>
            </a:fld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49436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3.xml"/><Relationship Id="rId4" Type="http://schemas.openxmlformats.org/officeDocument/2006/relationships/image" Target="../media/image2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4" Type="http://schemas.openxmlformats.org/officeDocument/2006/relationships/image" Target="../media/image2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5.xml"/><Relationship Id="rId4" Type="http://schemas.openxmlformats.org/officeDocument/2006/relationships/image" Target="../media/image2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6.xml"/><Relationship Id="rId4" Type="http://schemas.openxmlformats.org/officeDocument/2006/relationships/image" Target="../media/image2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7.xml"/><Relationship Id="rId4" Type="http://schemas.openxmlformats.org/officeDocument/2006/relationships/image" Target="../media/image2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8.xml"/><Relationship Id="rId4" Type="http://schemas.openxmlformats.org/officeDocument/2006/relationships/image" Target="../media/image2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9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0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oleObject" Target="../embeddings/oleObject113.bin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4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2.emf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5.xml"/><Relationship Id="rId4" Type="http://schemas.openxmlformats.org/officeDocument/2006/relationships/image" Target="../media/image2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6.xml"/><Relationship Id="rId4" Type="http://schemas.openxmlformats.org/officeDocument/2006/relationships/image" Target="../media/image19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6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9.xml"/><Relationship Id="rId4" Type="http://schemas.openxmlformats.org/officeDocument/2006/relationships/image" Target="../media/image18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0.xml"/><Relationship Id="rId4" Type="http://schemas.openxmlformats.org/officeDocument/2006/relationships/image" Target="../media/image21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1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oleObject" Target="../embeddings/oleObject56.bin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2.emf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1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Relationship Id="rId4" Type="http://schemas.openxmlformats.org/officeDocument/2006/relationships/image" Target="../media/image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4" Type="http://schemas.openxmlformats.org/officeDocument/2006/relationships/image" Target="../media/image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4" Type="http://schemas.openxmlformats.org/officeDocument/2006/relationships/image" Target="../media/image2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4" Type="http://schemas.openxmlformats.org/officeDocument/2006/relationships/image" Target="../media/image2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4" Type="http://schemas.openxmlformats.org/officeDocument/2006/relationships/image" Target="../media/image2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4" Type="http://schemas.openxmlformats.org/officeDocument/2006/relationships/image" Target="../media/image2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4" Type="http://schemas.openxmlformats.org/officeDocument/2006/relationships/image" Target="../media/image2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4" Type="http://schemas.openxmlformats.org/officeDocument/2006/relationships/image" Target="../media/image2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Relationship Id="rId4" Type="http://schemas.openxmlformats.org/officeDocument/2006/relationships/image" Target="../media/image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4" Type="http://schemas.openxmlformats.org/officeDocument/2006/relationships/image" Target="../media/image2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4" Type="http://schemas.openxmlformats.org/officeDocument/2006/relationships/image" Target="../media/image2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4" Type="http://schemas.openxmlformats.org/officeDocument/2006/relationships/image" Target="../media/image2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4" Type="http://schemas.openxmlformats.org/officeDocument/2006/relationships/image" Target="../media/image2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Relationship Id="rId4" Type="http://schemas.openxmlformats.org/officeDocument/2006/relationships/image" Target="../media/image2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Relationship Id="rId4" Type="http://schemas.openxmlformats.org/officeDocument/2006/relationships/image" Target="../media/image2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5.xml"/><Relationship Id="rId4" Type="http://schemas.openxmlformats.org/officeDocument/2006/relationships/image" Target="../media/image2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Relationship Id="rId4" Type="http://schemas.openxmlformats.org/officeDocument/2006/relationships/image" Target="../media/image2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7.xml"/><Relationship Id="rId4" Type="http://schemas.openxmlformats.org/officeDocument/2006/relationships/image" Target="../media/image2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Relationship Id="rId4" Type="http://schemas.openxmlformats.org/officeDocument/2006/relationships/image" Target="../media/image2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Relationship Id="rId4" Type="http://schemas.openxmlformats.org/officeDocument/2006/relationships/image" Target="../media/image2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0.xml"/><Relationship Id="rId4" Type="http://schemas.openxmlformats.org/officeDocument/2006/relationships/image" Target="../media/image2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4" Type="http://schemas.openxmlformats.org/officeDocument/2006/relationships/image" Target="../media/image2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4" Type="http://schemas.openxmlformats.org/officeDocument/2006/relationships/image" Target="../media/image2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Relationship Id="rId4" Type="http://schemas.openxmlformats.org/officeDocument/2006/relationships/image" Target="../media/image2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Relationship Id="rId4" Type="http://schemas.openxmlformats.org/officeDocument/2006/relationships/image" Target="../media/image2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4" Type="http://schemas.openxmlformats.org/officeDocument/2006/relationships/image" Target="../media/image2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4" Type="http://schemas.openxmlformats.org/officeDocument/2006/relationships/image" Target="../media/image2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8.xml"/><Relationship Id="rId4" Type="http://schemas.openxmlformats.org/officeDocument/2006/relationships/image" Target="../media/image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4" Type="http://schemas.openxmlformats.org/officeDocument/2006/relationships/image" Target="../media/image2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0.xml"/><Relationship Id="rId4" Type="http://schemas.openxmlformats.org/officeDocument/2006/relationships/image" Target="../media/image2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4" Type="http://schemas.openxmlformats.org/officeDocument/2006/relationships/image" Target="../media/image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2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7F8F8E-E361-4CDB-A69F-99C6F930DB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675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7F8F8E-E361-4CDB-A69F-99C6F930D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D1903C8B-6A03-40C4-AD50-AACDEC5FDA0C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vert="horz" anchor="t" anchorCtr="0"/>
          <a:lstStyle>
            <a:lvl1pPr algn="l" rtl="0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/>
              <a:t>Headlin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1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BCB00A1-B02B-4550-84A4-2B5ED4B169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47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BCB00A1-B02B-4550-84A4-2B5ED4B169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CC7FD-8EF4-43FC-BAB3-47E907F1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DE8F052-B495-40BE-9682-094846479C8E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C6AF5-5886-488E-94AF-540306D52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05638-6A02-4F90-BE63-DA3C1ABD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0183710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227C61D-30C0-4297-B288-29AC3762F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4782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227C61D-30C0-4297-B288-29AC3762F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vert="horz" anchor="b"/>
          <a:lstStyle>
            <a:lvl1pPr algn="l" rtl="0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9440549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87B10F7-4FB1-474E-B05A-5FDF1FEFCC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3183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87B10F7-4FB1-474E-B05A-5FDF1FEFCC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vert="horz" anchor="b"/>
          <a:lstStyle>
            <a:lvl1pPr algn="l" rtl="0">
              <a:defRPr sz="600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F24941B2-5F7F-4165-B2DE-D010B7A4A5F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D556956A-96D6-4D98-8C29-19A32FDF3B33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5848244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C1DC165-8380-4CDD-8AFB-C475DDAD52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3839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C1DC165-8380-4CDD-8AFB-C475DDAD52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vert="horz" anchor="b"/>
          <a:lstStyle>
            <a:lvl1pPr algn="l" rtl="0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0224D57B-23DE-43CD-A5E3-B1FD72D6C8DA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18157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86ABE3-52FB-4E55-8407-0EDDCF5E5C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31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86ABE3-52FB-4E55-8407-0EDDCF5E5C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1466C188-1D45-4F08-8DB4-23F6002C2B91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0" name="Background">
            <a:extLst>
              <a:ext uri="{FF2B5EF4-FFF2-40B4-BE49-F238E27FC236}">
                <a16:creationId xmlns:a16="http://schemas.microsoft.com/office/drawing/2014/main" id="{A870D1C3-7E2E-4C71-B669-3496D73E1AB6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/>
              <a:t>Mark placeholder to insert image using the Insert tab – Pictures or from Templaf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vert="horz" anchor="b"/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Breaker tex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145029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D169692-AE86-4FD3-BB1D-A741D1B370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5101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D169692-AE86-4FD3-BB1D-A741D1B37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7494C8F4-6B6A-48C1-B023-792B6BA54AED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3930680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F946522-110D-4F60-8083-54F84D29E4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041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F946522-110D-4F60-8083-54F84D29E4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C247F8E-8C20-40E4-A53C-3DA358D8C9A7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0728356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AE2392-16DB-4A45-80F4-0FE1F0FF59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5343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AE2392-16DB-4A45-80F4-0FE1F0FF59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fld id="{8E8C12B2-0AE5-428E-985F-E18D4DA17AC7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vert="horz" anchor="t" anchorCtr="0"/>
          <a:lstStyle>
            <a:lvl1pPr algn="l" rtl="0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Thank you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da-DK"/>
              <a:t>Click to add Name Last name</a:t>
            </a:r>
            <a:br>
              <a:rPr lang="da-DK"/>
            </a:br>
            <a:r>
              <a:rPr lang="da-DK"/>
              <a:t>Job title, Department</a:t>
            </a:r>
            <a:br>
              <a:rPr lang="da-DK"/>
            </a:br>
            <a:r>
              <a:rPr lang="da-DK"/>
              <a:t>e-mail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384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FC64681-5936-4768-A4E6-6CCF076ED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023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FC64681-5936-4768-A4E6-6CCF076ED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fld id="{D9DD72BF-EDEC-441F-B5D6-F68832F343C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vert="horz" anchor="t" anchorCtr="0"/>
          <a:lstStyle>
            <a:lvl1pPr algn="l" rtl="0">
              <a:defRPr sz="600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da-DK"/>
              <a:t>Click to add Name Last name</a:t>
            </a:r>
            <a:br>
              <a:rPr lang="da-DK"/>
            </a:br>
            <a:r>
              <a:rPr lang="da-DK"/>
              <a:t>Job title, Department</a:t>
            </a:r>
            <a:br>
              <a:rPr lang="da-DK"/>
            </a:br>
            <a:r>
              <a:rPr lang="da-DK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872507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A94664-0E75-4B04-A97B-5B5913A9CB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945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A94664-0E75-4B04-A97B-5B5913A9CB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fld id="{D9DD72BF-EDEC-441F-B5D6-F68832F343C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vert="horz" anchor="t" anchorCtr="0"/>
          <a:lstStyle>
            <a:lvl1pPr algn="l" rtl="0">
              <a:defRPr sz="6000"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da-DK"/>
              <a:t>Click to add Name Last name</a:t>
            </a:r>
            <a:br>
              <a:rPr lang="da-DK"/>
            </a:br>
            <a:r>
              <a:rPr lang="da-DK"/>
              <a:t>Job title, Department</a:t>
            </a:r>
            <a:br>
              <a:rPr lang="da-DK"/>
            </a:br>
            <a:r>
              <a:rPr lang="da-DK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19667169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B8F1E1-69AC-41FD-A20B-7155ADE743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195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B8F1E1-69AC-41FD-A20B-7155ADE743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fld id="{A1A56BB6-3BA7-4961-B12B-413561C0404C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03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9D7D73D-972F-48AE-A8BB-F901CFE81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406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9D7D73D-972F-48AE-A8BB-F901CFE81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B4C9864-BFD0-4574-B370-8DFD1BF6363B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87015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FD274B0-6BE5-471E-A6FD-AE066EF5A2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7391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FD274B0-6BE5-471E-A6FD-AE066EF5A2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fld id="{B35A424D-FAB8-409F-880C-B8B92E81DC56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410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6DB2B5-E9CE-419C-9672-58883CA7C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679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6DB2B5-E9CE-419C-9672-58883CA7C5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da-DK" sz="9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da-DK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da-DK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da-DK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da-DK" sz="900" b="0" i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da-DK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da-DK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da-DK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da-DK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da-DK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da-DK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da-DK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rtl="0"/>
            <a:r>
              <a:rPr lang="da-DK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A5B220B3-5DAB-45AB-9B6A-9B7C36B5A57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da-DK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da-DK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da-DK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 rtl="0">
              <a:spcAft>
                <a:spcPts val="600"/>
              </a:spcAft>
              <a:buFont typeface="+mj-lt"/>
              <a:buNone/>
            </a:pPr>
            <a:r>
              <a:rPr lang="da-DK" sz="90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on the </a:t>
            </a:r>
            <a:r>
              <a:rPr lang="da-DK" sz="90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arrow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</a:t>
            </a:r>
            <a:r>
              <a:rPr lang="da-DK" sz="90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next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to </a:t>
            </a:r>
            <a:r>
              <a:rPr lang="da-DK" sz="900" b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</a:t>
            </a:r>
            <a:r>
              <a:rPr lang="da-DK" sz="90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dropdown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menu of </a:t>
            </a:r>
            <a:r>
              <a:rPr lang="da-DK" sz="90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possible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slide layouts</a:t>
            </a:r>
          </a:p>
          <a:p>
            <a:pPr marL="0" indent="0" rtl="0">
              <a:spcAft>
                <a:spcPts val="600"/>
              </a:spcAft>
              <a:buFont typeface="+mj-lt"/>
              <a:buNone/>
            </a:pPr>
            <a:endParaRPr lang="da-DK" sz="90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err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  <a:endParaRPr lang="da-DK" sz="1600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da-DK" sz="90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62105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657E9A-259C-478B-8661-A07D85C4B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6984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657E9A-259C-478B-8661-A07D85C4B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  <a:buClr>
                <a:srgbClr val="003755"/>
              </a:buClr>
            </a:pPr>
            <a:endParaRPr lang="da-DK" sz="1400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000" b="0" noProof="0">
                <a:solidFill>
                  <a:schemeClr val="tx1"/>
                </a:solidFill>
              </a:rPr>
              <a:t>If you see any </a:t>
            </a:r>
            <a:r>
              <a:rPr lang="da-DK" sz="4000" b="1" i="1" noProof="0">
                <a:solidFill>
                  <a:schemeClr val="tx1"/>
                </a:solidFill>
              </a:rPr>
              <a:t>layouts after this </a:t>
            </a:r>
            <a:r>
              <a:rPr lang="da-DK" sz="4000" b="0" i="0" noProof="0">
                <a:solidFill>
                  <a:schemeClr val="tx1"/>
                </a:solidFill>
              </a:rPr>
              <a:t>one</a:t>
            </a:r>
            <a:r>
              <a:rPr lang="da-DK" sz="4000" b="1" i="1" noProof="0">
                <a:solidFill>
                  <a:schemeClr val="tx1"/>
                </a:solidFill>
              </a:rPr>
              <a:t>,</a:t>
            </a:r>
            <a:br>
              <a:rPr lang="da-DK" sz="4000" b="0" i="0" noProof="0">
                <a:solidFill>
                  <a:schemeClr val="tx1"/>
                </a:solidFill>
              </a:rPr>
            </a:br>
            <a:r>
              <a:rPr lang="da-DK" sz="4000" b="0" noProof="0">
                <a:solidFill>
                  <a:schemeClr val="tx1"/>
                </a:solidFill>
              </a:rPr>
              <a:t>do not use them. These layouts </a:t>
            </a:r>
            <a:r>
              <a:rPr lang="da-DK" sz="4000" b="1" i="1" u="none" noProof="0">
                <a:solidFill>
                  <a:schemeClr val="tx1"/>
                </a:solidFill>
              </a:rPr>
              <a:t>are not </a:t>
            </a:r>
            <a:r>
              <a:rPr lang="da-DK" sz="4000" b="0" noProof="0">
                <a:solidFill>
                  <a:schemeClr val="tx1"/>
                </a:solidFill>
              </a:rPr>
              <a:t>part of our corporate template.</a:t>
            </a:r>
            <a:endParaRPr lang="da-DK" sz="2400" b="0" noProof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da-DK" sz="11500" b="1" i="1" noProof="0">
                <a:solidFill>
                  <a:schemeClr val="tx1"/>
                </a:solidFill>
              </a:rPr>
              <a:t>Do not use </a:t>
            </a:r>
            <a:endParaRPr lang="da-DK" sz="2000" b="1" i="1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800" b="0" noProof="0">
                <a:solidFill>
                  <a:schemeClr val="tx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800" b="0" noProof="0">
                <a:solidFill>
                  <a:schemeClr val="tx1"/>
                </a:solidFill>
              </a:rPr>
              <a:t>Also notice: Layouts after this might contain potential confidential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06357EC7-0D53-4A60-9E41-D75A47B48389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2120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493788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17033" y="452438"/>
            <a:ext cx="10560473" cy="748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5875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rtl="0">
              <a:defRPr sz="800"/>
            </a:lvl1pPr>
          </a:lstStyle>
          <a:p>
            <a:fld id="{31421AFA-3AE7-4CEA-BC9B-447859BED57B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02794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680A60-BD7E-4349-AE6C-EF28555CE8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820248"/>
              </p:ext>
            </p:ext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680A60-BD7E-4349-AE6C-EF28555CE8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53D486B-0242-42F9-9A8F-A47A4AEFEFF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71" cy="15871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da-DK" sz="2399" b="1" i="0" baseline="0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2EBB43-A1BF-49AB-9E43-4BDF2C6F4B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BB3383-CDE9-4F4F-AFAE-CEAF50B35F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1421AFA-3AE7-4CEA-BC9B-447859BED57B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D96A82-0EDA-40CA-A14E-D8000788EF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 algn="r"/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F72F2B7-A29E-4CEE-931D-9305C08CB6B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125B66FD-FDD1-4AC0-B268-3C5688873A2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50648212-0142-467F-A486-D5E2FEA1DA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9" y="453495"/>
            <a:ext cx="10590002" cy="748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083954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0544082-CD7C-4DDF-9D66-47D49D57FA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4320494"/>
              </p:ext>
            </p:ext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0544082-CD7C-4DDF-9D66-47D49D57FA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3" cy="748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Click to edit Master title styl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798619" y="1644652"/>
            <a:ext cx="4886961" cy="40624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 spc="-100" baseline="0"/>
            </a:lvl5pPr>
          </a:lstStyle>
          <a:p>
            <a:pPr lvl="0"/>
            <a:r>
              <a:rPr lang="da-DK" noProof="0"/>
              <a:t>Click to edit Master text style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478155-5C9E-4D4A-AA75-125DF35A1CB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00072" y="1644651"/>
            <a:ext cx="4888549" cy="40624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1421AFA-3AE7-4CEA-BC9B-447859BED57B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B842E0E-6D91-4141-882C-6C91050C6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rtl="0">
              <a:defRPr lang="en-GB" sz="800" baseline="0"/>
            </a:lvl1pPr>
          </a:lstStyle>
          <a:p>
            <a:pPr algn="r"/>
            <a:endParaRPr lang="da-DK"/>
          </a:p>
        </p:txBody>
      </p:sp>
      <p:sp>
        <p:nvSpPr>
          <p:cNvPr id="7" name="Date Placeholder 9">
            <a:extLst>
              <a:ext uri="{FF2B5EF4-FFF2-40B4-BE49-F238E27FC236}">
                <a16:creationId xmlns:a16="http://schemas.microsoft.com/office/drawing/2014/main" id="{9636BB38-B4B3-4D1B-AD86-BCBC6FCBB7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>
              <a:defRPr lang="en-GB" sz="1200"/>
            </a:lvl1pPr>
          </a:lstStyle>
          <a:p>
            <a:fld id="{14461B16-EFAF-4605-9536-889EF879D324}" type="datetime1">
              <a:rPr lang="da-DK" smtClean="0"/>
              <a:pPr/>
              <a:t>13-01-2023</a:t>
            </a:fld>
            <a:r>
              <a:rPr lang="da-DK"/>
              <a:t>11/01/2018</a:t>
            </a:r>
          </a:p>
        </p:txBody>
      </p:sp>
    </p:spTree>
    <p:extLst>
      <p:ext uri="{BB962C8B-B14F-4D97-AF65-F5344CB8AC3E}">
        <p14:creationId xmlns:p14="http://schemas.microsoft.com/office/powerpoint/2010/main" val="334768007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Box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1056238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831708" y="1612426"/>
            <a:ext cx="10560175" cy="244743"/>
          </a:xfrm>
        </p:spPr>
        <p:txBody>
          <a:bodyPr lIns="0"/>
          <a:lstStyle>
            <a:lvl1pPr marL="0" indent="0" rtl="0">
              <a:lnSpc>
                <a:spcPts val="2163"/>
              </a:lnSpc>
              <a:spcAft>
                <a:spcPts val="0"/>
              </a:spcAft>
              <a:buNone/>
              <a:defRPr sz="1200" b="0" baseline="0"/>
            </a:lvl1pPr>
            <a:lvl2pPr marL="316737" indent="-158368">
              <a:lnSpc>
                <a:spcPts val="1500"/>
              </a:lnSpc>
              <a:spcAft>
                <a:spcPts val="600"/>
              </a:spcAft>
              <a:defRPr sz="1100"/>
            </a:lvl2pPr>
            <a:lvl3pPr marL="475105" indent="-158368">
              <a:lnSpc>
                <a:spcPts val="1500"/>
              </a:lnSpc>
              <a:spcAft>
                <a:spcPts val="600"/>
              </a:spcAft>
              <a:defRPr sz="1100"/>
            </a:lvl3pPr>
            <a:lvl4pPr marL="633473" indent="-158368">
              <a:lnSpc>
                <a:spcPts val="1500"/>
              </a:lnSpc>
              <a:spcAft>
                <a:spcPts val="600"/>
              </a:spcAft>
              <a:defRPr sz="1100"/>
            </a:lvl4pPr>
            <a:lvl5pPr marL="633473" indent="0">
              <a:lnSpc>
                <a:spcPts val="1500"/>
              </a:lnSpc>
              <a:spcAft>
                <a:spcPts val="600"/>
              </a:spcAft>
              <a:buNone/>
              <a:defRPr sz="1100"/>
            </a:lvl5pPr>
          </a:lstStyle>
          <a:p>
            <a:pPr lvl="0"/>
            <a:r>
              <a:rPr lang="da-DK" noProof="0"/>
              <a:t>Box headline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4" hasCustomPrompt="1"/>
          </p:nvPr>
        </p:nvSpPr>
        <p:spPr>
          <a:xfrm>
            <a:off x="831708" y="1364084"/>
            <a:ext cx="10560175" cy="244743"/>
          </a:xfrm>
        </p:spPr>
        <p:txBody>
          <a:bodyPr lIns="0"/>
          <a:lstStyle>
            <a:lvl1pPr marL="0" indent="0" rtl="0">
              <a:lnSpc>
                <a:spcPts val="2163"/>
              </a:lnSpc>
              <a:spcAft>
                <a:spcPts val="0"/>
              </a:spcAft>
              <a:buNone/>
              <a:defRPr sz="1200" b="1" baseline="0"/>
            </a:lvl1pPr>
            <a:lvl2pPr marL="316737" indent="-158368">
              <a:lnSpc>
                <a:spcPts val="1500"/>
              </a:lnSpc>
              <a:spcAft>
                <a:spcPts val="600"/>
              </a:spcAft>
              <a:defRPr sz="1100"/>
            </a:lvl2pPr>
            <a:lvl3pPr marL="475105" indent="-158368">
              <a:lnSpc>
                <a:spcPts val="1500"/>
              </a:lnSpc>
              <a:spcAft>
                <a:spcPts val="600"/>
              </a:spcAft>
              <a:defRPr sz="1100"/>
            </a:lvl3pPr>
            <a:lvl4pPr marL="633473" indent="-158368">
              <a:lnSpc>
                <a:spcPts val="1500"/>
              </a:lnSpc>
              <a:spcAft>
                <a:spcPts val="600"/>
              </a:spcAft>
              <a:defRPr sz="1100"/>
            </a:lvl4pPr>
            <a:lvl5pPr marL="633473" indent="0">
              <a:lnSpc>
                <a:spcPts val="1500"/>
              </a:lnSpc>
              <a:spcAft>
                <a:spcPts val="600"/>
              </a:spcAft>
              <a:buNone/>
              <a:defRPr sz="1100"/>
            </a:lvl5pPr>
          </a:lstStyle>
          <a:p>
            <a:pPr lvl="0"/>
            <a:r>
              <a:rPr lang="da-DK" b="1" noProof="0"/>
              <a:t>Sub headline</a:t>
            </a:r>
            <a:endParaRPr lang="da-DK" noProof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17033" y="452438"/>
            <a:ext cx="10560473" cy="748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1708" y="1989173"/>
            <a:ext cx="10560175" cy="4088178"/>
          </a:xfrm>
        </p:spPr>
        <p:txBody>
          <a:bodyPr lIns="0"/>
          <a:lstStyle>
            <a:lvl1pPr marL="158368" indent="-158368" rtl="0">
              <a:lnSpc>
                <a:spcPts val="1500"/>
              </a:lnSpc>
              <a:spcAft>
                <a:spcPts val="600"/>
              </a:spcAft>
              <a:defRPr sz="1200"/>
            </a:lvl1pPr>
            <a:lvl2pPr marL="361870" indent="-188871" defTabSz="457098" rtl="0" eaLnBrk="0" hangingPunct="0">
              <a:lnSpc>
                <a:spcPts val="1500"/>
              </a:lnSpc>
              <a:spcAft>
                <a:spcPts val="600"/>
              </a:spcAft>
              <a:buFont typeface="Verdana" panose="020B0604030504040204" pitchFamily="34" charset="0"/>
              <a:buChar char="−"/>
              <a:defRPr sz="1200"/>
            </a:lvl2pPr>
            <a:lvl3pPr marL="475105" indent="-158368">
              <a:lnSpc>
                <a:spcPts val="1500"/>
              </a:lnSpc>
              <a:spcAft>
                <a:spcPts val="600"/>
              </a:spcAft>
              <a:defRPr sz="1100"/>
            </a:lvl3pPr>
            <a:lvl4pPr marL="633473" indent="-158368">
              <a:lnSpc>
                <a:spcPts val="1500"/>
              </a:lnSpc>
              <a:spcAft>
                <a:spcPts val="600"/>
              </a:spcAft>
              <a:defRPr sz="1100"/>
            </a:lvl4pPr>
            <a:lvl5pPr marL="791842" indent="-158368">
              <a:lnSpc>
                <a:spcPts val="1500"/>
              </a:lnSpc>
              <a:spcAft>
                <a:spcPts val="600"/>
              </a:spcAft>
              <a:defRPr sz="1100"/>
            </a:lvl5pPr>
          </a:lstStyle>
          <a:p>
            <a:pPr lvl="0"/>
            <a:r>
              <a:rPr lang="da-DK" noProof="0"/>
              <a:t>Click to edit Master text styles</a:t>
            </a:r>
          </a:p>
          <a:p>
            <a:pPr marL="361870" lvl="1" indent="-188871" defTabSz="457098" eaLnBrk="0" hangingPunct="0">
              <a:spcAft>
                <a:spcPts val="600"/>
              </a:spcAft>
              <a:buFont typeface="Verdana" panose="020B0604030504040204" pitchFamily="34" charset="0"/>
              <a:buChar char="−"/>
            </a:pPr>
            <a:r>
              <a:rPr lang="da-DK" sz="1200">
                <a:latin typeface="Verdana"/>
                <a:cs typeface="ＭＳ Ｐゴシック" pitchFamily="-111" charset="-128"/>
              </a:rPr>
              <a:t>Click to 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19" hasCustomPrompt="1"/>
          </p:nvPr>
        </p:nvSpPr>
        <p:spPr>
          <a:xfrm>
            <a:off x="815120" y="6424834"/>
            <a:ext cx="10034027" cy="395076"/>
          </a:xfrm>
        </p:spPr>
        <p:txBody>
          <a:bodyPr lIns="0"/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800" b="0" baseline="0"/>
            </a:lvl1pPr>
            <a:lvl2pPr marL="316737" indent="-158368">
              <a:lnSpc>
                <a:spcPts val="1500"/>
              </a:lnSpc>
              <a:spcAft>
                <a:spcPts val="600"/>
              </a:spcAft>
              <a:defRPr sz="1100"/>
            </a:lvl2pPr>
            <a:lvl3pPr marL="475105" indent="-158368">
              <a:lnSpc>
                <a:spcPts val="1500"/>
              </a:lnSpc>
              <a:spcAft>
                <a:spcPts val="600"/>
              </a:spcAft>
              <a:defRPr sz="1100"/>
            </a:lvl3pPr>
            <a:lvl4pPr marL="633473" indent="-158368">
              <a:lnSpc>
                <a:spcPts val="1500"/>
              </a:lnSpc>
              <a:spcAft>
                <a:spcPts val="600"/>
              </a:spcAft>
              <a:defRPr sz="1100"/>
            </a:lvl4pPr>
            <a:lvl5pPr marL="633473" indent="0">
              <a:lnSpc>
                <a:spcPts val="1500"/>
              </a:lnSpc>
              <a:spcAft>
                <a:spcPts val="600"/>
              </a:spcAft>
              <a:buNone/>
              <a:defRPr sz="1100"/>
            </a:lvl5pPr>
          </a:lstStyle>
          <a:p>
            <a:pPr lvl="0"/>
            <a:r>
              <a:rPr lang="da-DK" noProof="0"/>
              <a:t>Source:</a:t>
            </a:r>
          </a:p>
          <a:p>
            <a:pPr lvl="0"/>
            <a:r>
              <a:rPr lang="da-DK" noProof="0"/>
              <a:t>Note:</a:t>
            </a:r>
          </a:p>
          <a:p>
            <a:pPr lvl="0"/>
            <a:r>
              <a:rPr lang="da-DK" noProof="0"/>
              <a:t>*Xxx, **Xxx, ***Xxx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5875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rtl="0">
              <a:defRPr sz="800"/>
            </a:lvl1pPr>
          </a:lstStyle>
          <a:p>
            <a:fld id="{31421AFA-3AE7-4CEA-BC9B-447859BED57B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5931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C0B7B6-6EAE-45B0-8409-4FE93D996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39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C0B7B6-6EAE-45B0-8409-4FE93D996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14970" y="549148"/>
            <a:ext cx="10560473" cy="748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Click to edit Master title style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19" hasCustomPrompt="1"/>
          </p:nvPr>
        </p:nvSpPr>
        <p:spPr>
          <a:xfrm>
            <a:off x="815120" y="6424834"/>
            <a:ext cx="10034027" cy="395076"/>
          </a:xfrm>
        </p:spPr>
        <p:txBody>
          <a:bodyPr lIns="0"/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800" b="0" baseline="0"/>
            </a:lvl1pPr>
            <a:lvl2pPr marL="316737" indent="-158368">
              <a:lnSpc>
                <a:spcPts val="1500"/>
              </a:lnSpc>
              <a:spcAft>
                <a:spcPts val="600"/>
              </a:spcAft>
              <a:defRPr sz="1100"/>
            </a:lvl2pPr>
            <a:lvl3pPr marL="475105" indent="-158368">
              <a:lnSpc>
                <a:spcPts val="1500"/>
              </a:lnSpc>
              <a:spcAft>
                <a:spcPts val="600"/>
              </a:spcAft>
              <a:defRPr sz="1100"/>
            </a:lvl3pPr>
            <a:lvl4pPr marL="633473" indent="-158368">
              <a:lnSpc>
                <a:spcPts val="1500"/>
              </a:lnSpc>
              <a:spcAft>
                <a:spcPts val="600"/>
              </a:spcAft>
              <a:defRPr sz="1100"/>
            </a:lvl4pPr>
            <a:lvl5pPr marL="633473" indent="0">
              <a:lnSpc>
                <a:spcPts val="1500"/>
              </a:lnSpc>
              <a:spcAft>
                <a:spcPts val="600"/>
              </a:spcAft>
              <a:buNone/>
              <a:defRPr sz="1100"/>
            </a:lvl5pPr>
          </a:lstStyle>
          <a:p>
            <a:pPr lvl="0"/>
            <a:r>
              <a:rPr lang="da-DK" noProof="0"/>
              <a:t>Source:</a:t>
            </a:r>
          </a:p>
          <a:p>
            <a:pPr lvl="0"/>
            <a:r>
              <a:rPr lang="da-DK" noProof="0"/>
              <a:t>Note:</a:t>
            </a:r>
          </a:p>
          <a:p>
            <a:pPr lvl="0"/>
            <a:r>
              <a:rPr lang="da-DK" noProof="0"/>
              <a:t>*Xxx, **Xxx, ***Xx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5875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rtl="0">
              <a:defRPr sz="800"/>
            </a:lvl1pPr>
          </a:lstStyle>
          <a:p>
            <a:fld id="{31421AFA-3AE7-4CEA-BC9B-447859BED57B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831708" y="1989173"/>
            <a:ext cx="10560175" cy="4088178"/>
          </a:xfrm>
        </p:spPr>
        <p:txBody>
          <a:bodyPr lIns="0"/>
          <a:lstStyle>
            <a:lvl1pPr marL="158368" indent="-158368" rtl="0">
              <a:lnSpc>
                <a:spcPts val="1500"/>
              </a:lnSpc>
              <a:spcAft>
                <a:spcPts val="600"/>
              </a:spcAft>
              <a:defRPr sz="1200"/>
            </a:lvl1pPr>
            <a:lvl2pPr marL="361870" indent="-188871" defTabSz="457098" rtl="0" eaLnBrk="0" hangingPunct="0">
              <a:lnSpc>
                <a:spcPts val="1500"/>
              </a:lnSpc>
              <a:spcAft>
                <a:spcPts val="600"/>
              </a:spcAft>
              <a:buFont typeface="Verdana" panose="020B0604030504040204" pitchFamily="34" charset="0"/>
              <a:buChar char="−"/>
              <a:defRPr sz="1200"/>
            </a:lvl2pPr>
            <a:lvl3pPr marL="475105" indent="-158368">
              <a:lnSpc>
                <a:spcPts val="1500"/>
              </a:lnSpc>
              <a:spcAft>
                <a:spcPts val="600"/>
              </a:spcAft>
              <a:defRPr sz="1100"/>
            </a:lvl3pPr>
            <a:lvl4pPr marL="633473" indent="-158368">
              <a:lnSpc>
                <a:spcPts val="1500"/>
              </a:lnSpc>
              <a:spcAft>
                <a:spcPts val="600"/>
              </a:spcAft>
              <a:defRPr sz="1100"/>
            </a:lvl4pPr>
            <a:lvl5pPr marL="791842" indent="-158368">
              <a:lnSpc>
                <a:spcPts val="1500"/>
              </a:lnSpc>
              <a:spcAft>
                <a:spcPts val="600"/>
              </a:spcAft>
              <a:defRPr sz="1100"/>
            </a:lvl5pPr>
          </a:lstStyle>
          <a:p>
            <a:pPr lvl="0"/>
            <a:r>
              <a:rPr lang="da-DK" noProof="0"/>
              <a:t>Click to edit Master text styles</a:t>
            </a:r>
          </a:p>
          <a:p>
            <a:pPr lvl="1"/>
            <a:r>
              <a:rPr lang="da-DK" noProof="0"/>
              <a:t>Second level</a:t>
            </a:r>
          </a:p>
        </p:txBody>
      </p:sp>
      <p:cxnSp>
        <p:nvCxnSpPr>
          <p:cNvPr id="7" name="Straight Arrow Connector 6"/>
          <p:cNvCxnSpPr/>
          <p:nvPr userDrawn="1"/>
        </p:nvCxnSpPr>
        <p:spPr>
          <a:xfrm>
            <a:off x="-169512" y="1053287"/>
            <a:ext cx="0" cy="359262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 userDrawn="1"/>
        </p:nvCxnSpPr>
        <p:spPr>
          <a:xfrm>
            <a:off x="-169512" y="6079543"/>
            <a:ext cx="0" cy="359262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 userDrawn="1"/>
        </p:nvCxnSpPr>
        <p:spPr>
          <a:xfrm>
            <a:off x="-745651" y="3776614"/>
            <a:ext cx="576139" cy="0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 userDrawn="1"/>
        </p:nvCxnSpPr>
        <p:spPr>
          <a:xfrm>
            <a:off x="6076701" y="-458531"/>
            <a:ext cx="0" cy="359262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 userDrawn="1"/>
        </p:nvCxnSpPr>
        <p:spPr>
          <a:xfrm>
            <a:off x="6076701" y="6992950"/>
            <a:ext cx="0" cy="359262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 userDrawn="1"/>
        </p:nvCxnSpPr>
        <p:spPr>
          <a:xfrm>
            <a:off x="12433528" y="1053287"/>
            <a:ext cx="0" cy="359262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 userDrawn="1"/>
        </p:nvCxnSpPr>
        <p:spPr>
          <a:xfrm>
            <a:off x="12433528" y="6079543"/>
            <a:ext cx="0" cy="359262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 userDrawn="1"/>
        </p:nvCxnSpPr>
        <p:spPr>
          <a:xfrm>
            <a:off x="12433528" y="3776614"/>
            <a:ext cx="576139" cy="0"/>
          </a:xfrm>
          <a:prstGeom prst="straightConnector1">
            <a:avLst/>
          </a:prstGeom>
          <a:ln w="38100">
            <a:solidFill>
              <a:schemeClr val="bg1"/>
            </a:solidFill>
            <a:headEnd type="triangl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-384347" y="1400676"/>
            <a:ext cx="30791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-384347" y="6079254"/>
            <a:ext cx="30791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12366182" y="1400676"/>
            <a:ext cx="30791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12366182" y="6091127"/>
            <a:ext cx="307910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05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1E666B-92F1-4D3F-B334-7345BA00F1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268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1E666B-92F1-4D3F-B334-7345BA00F1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9941A0D-1A7D-4418-872D-0A573109AE3D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39157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7AEC28F-0623-4B57-89BA-DB799692C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863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7AEC28F-0623-4B57-89BA-DB799692C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E630481-804D-4542-835F-93D05E69FE5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34044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EE6ED44-6347-4B5C-A9CF-2AAFE0CCAF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246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EE6ED44-6347-4B5C-A9CF-2AAFE0CCAF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7BF43399-B145-4BBC-AF2A-C9EC8B4305A6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26481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2FD5446-0FFD-4AA5-8484-41C898EC58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823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2FD5446-0FFD-4AA5-8484-41C898EC58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2D74F0F3-9842-478D-99B7-277D0E19CEC9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2475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42CFA53-A52A-4085-B0FA-F8262316C4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899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42CFA53-A52A-4085-B0FA-F8262316C4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233B4BAF-2B92-4850-839C-D15349852EB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61030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5E48CE1-3B7C-4195-8A4A-17411BEB71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302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5E48CE1-3B7C-4195-8A4A-17411BEB7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 rtl="0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 rtl="0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 rtl="0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 rtl="0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7B5352C5-81EC-4100-8EF4-0409291AC406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6716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AA731F-BB6F-40E3-BC06-0B0C95E98D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882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AA731F-BB6F-40E3-BC06-0B0C95E98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02620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7284F64-DC0A-4FF1-98E2-B31C5BAA5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161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7284F64-DC0A-4FF1-98E2-B31C5BAA5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ACCEA19-5171-4127-A28C-C6D875C2D7D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96963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2B9FBAA-B5E1-4B33-8454-9D7D95201D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0959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2B9FBAA-B5E1-4B33-8454-9D7D95201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1B42BF88-9EAB-4FF1-8C7D-3D1A57D94546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vert="horz" anchor="t" anchorCtr="0"/>
          <a:lstStyle>
            <a:lvl1pPr algn="l" rtl="0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BE643BFE-CC71-4C45-A510-41469C9CD8F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20508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286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4108FD-3B63-47BC-A25E-C3D474CCFD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211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74108FD-3B63-47BC-A25E-C3D474CCF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74162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74108FD-3B63-47BC-A25E-C3D474CCFD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4981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74108FD-3B63-47BC-A25E-C3D474CCFD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49549380-4AFA-44ED-B941-C958E1A9AAC2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C0A5349-0BBC-4F6C-B13C-D7F53B7EF2E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AB919EEC-B17A-45D8-AA63-F65E711080A5}"/>
              </a:ext>
            </a:extLst>
          </p:cNvPr>
          <p:cNvSpPr txBox="1">
            <a:spLocks/>
          </p:cNvSpPr>
          <p:nvPr userDrawn="1"/>
        </p:nvSpPr>
        <p:spPr>
          <a:xfrm>
            <a:off x="11359200" y="64632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314D1594-E68D-46B5-98E0-BADEBF2D8E2F}" type="datetime1">
              <a:rPr lang="da-DK" smtClean="0"/>
              <a:pPr rtl="0"/>
              <a:t>13-01-2023</a:t>
            </a:fld>
            <a:endParaRPr lang="da-DK"/>
          </a:p>
        </p:txBody>
      </p:sp>
      <p:sp>
        <p:nvSpPr>
          <p:cNvPr id="18" name="Slide Number Placeholder 7">
            <a:extLst>
              <a:ext uri="{FF2B5EF4-FFF2-40B4-BE49-F238E27FC236}">
                <a16:creationId xmlns:a16="http://schemas.microsoft.com/office/drawing/2014/main" id="{AB231FC3-0D04-4F33-B4F8-31F47CC0372E}"/>
              </a:ext>
            </a:extLst>
          </p:cNvPr>
          <p:cNvSpPr txBox="1">
            <a:spLocks/>
          </p:cNvSpPr>
          <p:nvPr userDrawn="1"/>
        </p:nvSpPr>
        <p:spPr>
          <a:xfrm>
            <a:off x="11359200" y="66288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23AA811B-2EBD-4900-905E-5BE206449611}" type="slidenum">
              <a:rPr lang="da-DK" smtClean="0"/>
              <a:pPr rtl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20478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6E0F9E-8D46-4431-8DD9-EEED2EABB9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2288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6E0F9E-8D46-4431-8DD9-EEED2EABB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A67BCEC0-92C2-4FF9-A782-344903368E13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553665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86CD03D-40FD-4F61-8C59-B591740DC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9279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86CD03D-40FD-4F61-8C59-B591740DC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14D1594-E68D-46B5-98E0-BADEBF2D8E2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02322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95BEDD6-8F6B-498D-A4C4-5F7F90637A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615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95BEDD6-8F6B-498D-A4C4-5F7F90637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265A58E6-12DB-4BF0-8165-AE5E60E9367A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93307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4ADE0CE-47D2-45C7-AE39-14155693E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8894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4ADE0CE-47D2-45C7-AE39-14155693E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6005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F928CC0-6333-4598-9A55-AF7081711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0047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F928CC0-6333-4598-9A55-AF7081711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62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958ED1B-A236-4FA7-AA14-BA9EBB544A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63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958ED1B-A236-4FA7-AA14-BA9EBB544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accent2"/>
                </a:solidFill>
              </a:defRPr>
            </a:lvl2pPr>
            <a:lvl3pPr rtl="0">
              <a:defRPr>
                <a:solidFill>
                  <a:schemeClr val="accent2"/>
                </a:solidFill>
              </a:defRPr>
            </a:lvl3pPr>
            <a:lvl4pPr rtl="0">
              <a:defRPr>
                <a:solidFill>
                  <a:schemeClr val="accent2"/>
                </a:solidFill>
              </a:defRPr>
            </a:lvl4pPr>
            <a:lvl5pPr rtl="0">
              <a:defRPr>
                <a:solidFill>
                  <a:schemeClr val="accent2"/>
                </a:solidFill>
              </a:defRPr>
            </a:lvl5pPr>
            <a:lvl6pPr rtl="0">
              <a:defRPr>
                <a:solidFill>
                  <a:schemeClr val="accent2"/>
                </a:solidFill>
              </a:defRPr>
            </a:lvl6pPr>
            <a:lvl7pPr rtl="0">
              <a:defRPr>
                <a:solidFill>
                  <a:schemeClr val="accent2"/>
                </a:solidFill>
              </a:defRPr>
            </a:lvl7pPr>
            <a:lvl8pPr rtl="0">
              <a:defRPr>
                <a:solidFill>
                  <a:schemeClr val="accent2"/>
                </a:solidFill>
              </a:defRPr>
            </a:lvl8pPr>
            <a:lvl9pPr rtl="0"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474620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B6E6D52-10BF-43AC-87B1-4FC24DDC8B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8302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B6E6D52-10BF-43AC-87B1-4FC24DDC8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accent2"/>
                </a:solidFill>
              </a:defRPr>
            </a:lvl2pPr>
            <a:lvl3pPr rtl="0">
              <a:defRPr>
                <a:solidFill>
                  <a:schemeClr val="accent2"/>
                </a:solidFill>
              </a:defRPr>
            </a:lvl3pPr>
            <a:lvl4pPr rtl="0">
              <a:defRPr>
                <a:solidFill>
                  <a:schemeClr val="accent2"/>
                </a:solidFill>
              </a:defRPr>
            </a:lvl4pPr>
            <a:lvl5pPr rtl="0">
              <a:defRPr>
                <a:solidFill>
                  <a:schemeClr val="accent2"/>
                </a:solidFill>
              </a:defRPr>
            </a:lvl5pPr>
            <a:lvl6pPr rtl="0">
              <a:defRPr>
                <a:solidFill>
                  <a:schemeClr val="accent2"/>
                </a:solidFill>
              </a:defRPr>
            </a:lvl6pPr>
            <a:lvl7pPr rtl="0">
              <a:defRPr>
                <a:solidFill>
                  <a:schemeClr val="accent2"/>
                </a:solidFill>
              </a:defRPr>
            </a:lvl7pPr>
            <a:lvl8pPr rtl="0">
              <a:defRPr>
                <a:solidFill>
                  <a:schemeClr val="accent2"/>
                </a:solidFill>
              </a:defRPr>
            </a:lvl8pPr>
            <a:lvl9pPr rtl="0"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830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0AB076-4F0C-4F2D-99CD-E177E1406C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4226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0AB076-4F0C-4F2D-99CD-E177E1406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C4B04AE4-03BB-4174-AD21-7567A4C959F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45920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DA997DA-9A06-4D96-A823-421A7ECCA8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0893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DA997DA-9A06-4D96-A823-421A7ECCA8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ED06D66A-00D9-479B-9856-27577BF36107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vert="horz" anchor="t" anchorCtr="0"/>
          <a:lstStyle>
            <a:lvl1pPr algn="l" rtl="0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B01D38AB-220F-4FC4-8219-927BC28D87C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361634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6716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0B0D6D0-9E47-436F-BBB3-C3D880443D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8078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0B0D6D0-9E47-436F-BBB3-C3D880443D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3A46E679-721E-4A44-A034-B3833441D488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90505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2D8D62-AB41-450B-B9F1-2D9F5EADE5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811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2D8D62-AB41-450B-B9F1-2D9F5EADE5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F6C1ADEE-7B52-423A-9878-0398FEFAF71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556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7F1E6D0-5037-4D56-BFB8-D34BAC9E13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75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7F1E6D0-5037-4D56-BFB8-D34BAC9E13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3FD627AC-F023-4E38-BBE2-8CC6A4B15F9B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68981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C33BC8-6792-4FC7-BB92-5CDBE2B526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2489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C33BC8-6792-4FC7-BB92-5CDBE2B526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791AE312-9C38-4B88-A1BD-03872F0FCB4A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51567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CF93F-0D2C-4463-AAE4-218CED3762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1277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ACF93F-0D2C-4463-AAE4-218CED3762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97920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752791-E933-4C4B-A72D-0F232ACECE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2066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752791-E933-4C4B-A72D-0F232ACEC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6093368-26E3-4532-8FD8-7B783022E688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633085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B02CC3-4518-4105-9AF0-461F9B390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2242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B02CC3-4518-4105-9AF0-461F9B390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51E3A26-CACC-472F-999E-6CEDC51DAFFB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14093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FF85D1-4635-4D0A-857C-54D3FAD62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9393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FF85D1-4635-4D0A-857C-54D3FAD62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923212C7-A548-4370-9C24-272889F12011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09627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207B7E-06CC-4607-A423-B044A4F979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827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207B7E-06CC-4607-A423-B044A4F979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393CB94-5BA6-4B5C-8025-21D6F4E52D5E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59807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F4C314-87F8-4EAA-93A8-98A03F3FCE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090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0F4C314-87F8-4EAA-93A8-98A03F3FCE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66435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370F0D6-EB7D-48E4-AE7F-22C6C845AB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0272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370F0D6-EB7D-48E4-AE7F-22C6C845A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D3E1E10-4E6B-4C9C-B68B-DC96BC56ABFC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vert="horz" anchor="t" anchorCtr="0"/>
          <a:lstStyle>
            <a:lvl1pPr algn="l" rtl="0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DA2544AE-9170-440D-A7DE-3D8825007C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777917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321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76AC67-D5CD-4E5A-8FAB-07EF933EDD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7415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76AC67-D5CD-4E5A-8FAB-07EF933ED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6F065B1-CCC8-4072-99B6-C71232109F4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083077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355167-19FE-465A-BFE5-ED6F29F50B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4210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355167-19FE-465A-BFE5-ED6F29F50B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accent2"/>
                </a:solidFill>
              </a:defRPr>
            </a:lvl2pPr>
            <a:lvl3pPr rtl="0">
              <a:defRPr>
                <a:solidFill>
                  <a:schemeClr val="accent2"/>
                </a:solidFill>
              </a:defRPr>
            </a:lvl3pPr>
            <a:lvl4pPr rtl="0">
              <a:defRPr>
                <a:solidFill>
                  <a:schemeClr val="accent2"/>
                </a:solidFill>
              </a:defRPr>
            </a:lvl4pPr>
            <a:lvl5pPr rtl="0">
              <a:defRPr>
                <a:solidFill>
                  <a:schemeClr val="accent2"/>
                </a:solidFill>
              </a:defRPr>
            </a:lvl5pPr>
            <a:lvl6pPr rtl="0">
              <a:defRPr>
                <a:solidFill>
                  <a:schemeClr val="accent2"/>
                </a:solidFill>
              </a:defRPr>
            </a:lvl6pPr>
            <a:lvl7pPr rtl="0">
              <a:defRPr>
                <a:solidFill>
                  <a:schemeClr val="accent2"/>
                </a:solidFill>
              </a:defRPr>
            </a:lvl7pPr>
            <a:lvl8pPr rtl="0">
              <a:defRPr>
                <a:solidFill>
                  <a:schemeClr val="accent2"/>
                </a:solidFill>
              </a:defRPr>
            </a:lvl8pPr>
            <a:lvl9pPr rtl="0"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92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C169DA-FAB4-4880-9E32-DFA56FD37E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2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C169DA-FAB4-4880-9E32-DFA56FD37E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accent2"/>
                </a:solidFill>
              </a:defRPr>
            </a:lvl2pPr>
            <a:lvl3pPr rtl="0">
              <a:defRPr>
                <a:solidFill>
                  <a:schemeClr val="accent2"/>
                </a:solidFill>
              </a:defRPr>
            </a:lvl3pPr>
            <a:lvl4pPr rtl="0">
              <a:defRPr>
                <a:solidFill>
                  <a:schemeClr val="accent2"/>
                </a:solidFill>
              </a:defRPr>
            </a:lvl4pPr>
            <a:lvl5pPr rtl="0">
              <a:defRPr>
                <a:solidFill>
                  <a:schemeClr val="accent2"/>
                </a:solidFill>
              </a:defRPr>
            </a:lvl5pPr>
            <a:lvl6pPr rtl="0">
              <a:defRPr>
                <a:solidFill>
                  <a:schemeClr val="accent2"/>
                </a:solidFill>
              </a:defRPr>
            </a:lvl6pPr>
            <a:lvl7pPr rtl="0">
              <a:defRPr>
                <a:solidFill>
                  <a:schemeClr val="accent2"/>
                </a:solidFill>
              </a:defRPr>
            </a:lvl7pPr>
            <a:lvl8pPr rtl="0">
              <a:defRPr>
                <a:solidFill>
                  <a:schemeClr val="accent2"/>
                </a:solidFill>
              </a:defRPr>
            </a:lvl8pPr>
            <a:lvl9pPr rtl="0"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9EE3078-35F5-4450-8DDB-1711F663AF0B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21732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867C4A-6359-4054-A6BC-0DC4D30CD5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531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867C4A-6359-4054-A6BC-0DC4D30CD5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87CEE0B2-D606-4C87-BD16-18AC95AF549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974764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CFBCC5A-1262-4934-883B-658B114936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5246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CFBCC5A-1262-4934-883B-658B114936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vert="horz" anchor="b"/>
          <a:lstStyle>
            <a:lvl1pPr algn="l" rtl="0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 rtl="0"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480811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13E611D-F72A-41E5-BB65-E7A57A76C3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106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13E611D-F72A-41E5-BB65-E7A57A76C3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vert="horz" anchor="b"/>
          <a:lstStyle>
            <a:lvl1pPr algn="l" rtl="0">
              <a:defRPr sz="600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F24941B2-5F7F-4165-B2DE-D010B7A4A5F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D556956A-96D6-4D98-8C29-19A32FDF3B33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4004401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737E489-740C-4C1E-99C4-11AE57EF00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2460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737E489-740C-4C1E-99C4-11AE57EF0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vert="horz" anchor="b"/>
          <a:lstStyle>
            <a:lvl1pPr algn="l" rtl="0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0224D57B-23DE-43CD-A5E3-B1FD72D6C8DA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09031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E230C2-150A-4BB8-9D49-DF1A33B98E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0370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3E230C2-150A-4BB8-9D49-DF1A33B98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1466C188-1D45-4F08-8DB4-23F6002C2B91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0" name="Background">
            <a:extLst>
              <a:ext uri="{FF2B5EF4-FFF2-40B4-BE49-F238E27FC236}">
                <a16:creationId xmlns:a16="http://schemas.microsoft.com/office/drawing/2014/main" id="{A870D1C3-7E2E-4C71-B669-3496D73E1AB6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/>
              <a:t>Mark placeholder to insert image using the Insert tab – Pictures or from Templaf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vert="horz" anchor="b"/>
          <a:lstStyle>
            <a:lvl1pPr algn="l" rtl="0"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Breaker tex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da-DK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3604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B96F34-C32A-4703-B98C-DAC191651E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800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B96F34-C32A-4703-B98C-DAC191651E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7494C8F4-6B6A-48C1-B023-792B6BA54AED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07839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D933BD5-5612-401E-BD08-A02BAC9970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498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D933BD5-5612-401E-BD08-A02BAC997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C247F8E-8C20-40E4-A53C-3DA358D8C9A7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548526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BE77FA0-740F-4C41-A399-89AB22D53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9952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BE77FA0-740F-4C41-A399-89AB22D53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65259D24-E6A6-4D69-90CB-83073E8387B2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  <a:p>
            <a:endParaRPr lang="da-DK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vert="horz" anchor="b" anchorCtr="0"/>
          <a:lstStyle>
            <a:lvl1pPr algn="l" rtl="0">
              <a:defRPr sz="6000"/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da-DK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753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9CA3035-AEB5-4EC8-8AF8-C1F55AF511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2792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9CA3035-AEB5-4EC8-8AF8-C1F55AF511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fld id="{8E8C12B2-0AE5-428E-985F-E18D4DA17AC7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vert="horz" anchor="t" anchorCtr="0"/>
          <a:lstStyle>
            <a:lvl1pPr algn="l" rtl="0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Thank you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da-DK"/>
              <a:t>Click to add Name Last name</a:t>
            </a:r>
            <a:br>
              <a:rPr lang="da-DK"/>
            </a:br>
            <a:r>
              <a:rPr lang="da-DK"/>
              <a:t>Job title, Department</a:t>
            </a:r>
            <a:br>
              <a:rPr lang="da-DK"/>
            </a:br>
            <a:r>
              <a:rPr lang="da-DK"/>
              <a:t>e-mail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25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D4BDE1C-0BAE-4BA8-B859-51213B625A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563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D4BDE1C-0BAE-4BA8-B859-51213B625A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fld id="{D9DD72BF-EDEC-441F-B5D6-F68832F343C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vert="horz" anchor="t" anchorCtr="0"/>
          <a:lstStyle>
            <a:lvl1pPr algn="l" rtl="0">
              <a:defRPr sz="600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da-DK"/>
              <a:t>Click to add Name Last name</a:t>
            </a:r>
            <a:br>
              <a:rPr lang="da-DK"/>
            </a:br>
            <a:r>
              <a:rPr lang="da-DK"/>
              <a:t>Job title, Department</a:t>
            </a:r>
            <a:br>
              <a:rPr lang="da-DK"/>
            </a:br>
            <a:r>
              <a:rPr lang="da-DK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980217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1D04FC-5BF2-4BFA-BE13-C6214764A9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2314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1D04FC-5BF2-4BFA-BE13-C6214764A9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fld id="{D9DD72BF-EDEC-441F-B5D6-F68832F343C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vert="horz" anchor="t" anchorCtr="0"/>
          <a:lstStyle>
            <a:lvl1pPr algn="l" rtl="0">
              <a:defRPr sz="6000"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to add </a:t>
            </a:r>
            <a:r>
              <a:rPr lang="da-DK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da-DK"/>
              <a:t>Click to add Name Last name</a:t>
            </a:r>
            <a:br>
              <a:rPr lang="da-DK"/>
            </a:br>
            <a:r>
              <a:rPr lang="da-DK"/>
              <a:t>Job title, Department</a:t>
            </a:r>
            <a:br>
              <a:rPr lang="da-DK"/>
            </a:br>
            <a:r>
              <a:rPr lang="da-DK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2236477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8FF06EC-BDB0-4020-8BCD-26F786ADBE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9329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8FF06EC-BDB0-4020-8BCD-26F786ADBE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fld id="{A1A56BB6-3BA7-4961-B12B-413561C0404C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137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C75CC1-7F1E-4B67-8D21-2D5E1DB240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4398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C75CC1-7F1E-4B67-8D21-2D5E1DB24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100">
                <a:noFill/>
              </a:defRPr>
            </a:lvl1pPr>
          </a:lstStyle>
          <a:p>
            <a:fld id="{B35A424D-FAB8-409F-880C-B8B92E81DC56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40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317F04-A303-4D83-AEBE-781FEA24C3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9310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317F04-A303-4D83-AEBE-781FEA24C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da-DK" sz="9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da-DK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da-DK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da-DK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da-DK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da-DK" sz="900" b="0" i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da-DK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da-DK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da-DK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da-DK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da-DK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da-DK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da-DK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rtl="0"/>
            <a:r>
              <a:rPr lang="da-DK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A5B220B3-5DAB-45AB-9B6A-9B7C36B5A57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da-DK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da-DK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da-DK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da-DK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da-DK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 rtl="0">
              <a:spcAft>
                <a:spcPts val="600"/>
              </a:spcAft>
              <a:buFont typeface="+mj-lt"/>
              <a:buNone/>
            </a:pPr>
            <a:r>
              <a:rPr lang="da-DK" sz="90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on the </a:t>
            </a:r>
            <a:r>
              <a:rPr lang="da-DK" sz="90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arrow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</a:t>
            </a:r>
            <a:r>
              <a:rPr lang="da-DK" sz="90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next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to </a:t>
            </a:r>
            <a:r>
              <a:rPr lang="da-DK" sz="900" b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</a:t>
            </a:r>
            <a:r>
              <a:rPr lang="da-DK" sz="90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dropdown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menu of </a:t>
            </a:r>
            <a:r>
              <a:rPr lang="da-DK" sz="900" err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possible</a:t>
            </a:r>
            <a:r>
              <a:rPr lang="da-DK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 slide layouts</a:t>
            </a:r>
          </a:p>
          <a:p>
            <a:pPr marL="0" indent="0" rtl="0">
              <a:spcAft>
                <a:spcPts val="600"/>
              </a:spcAft>
              <a:buFont typeface="+mj-lt"/>
              <a:buNone/>
            </a:pPr>
            <a:endParaRPr lang="da-DK" sz="90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600" err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  <a:endParaRPr lang="da-DK" sz="1600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da-DK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da-DK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da-DK" sz="90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4368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96F2842-5BE6-45F4-8B2F-F6524BE20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010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96F2842-5BE6-45F4-8B2F-F6524BE20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600"/>
              </a:spcBef>
              <a:buClr>
                <a:srgbClr val="003755"/>
              </a:buClr>
            </a:pPr>
            <a:endParaRPr lang="da-DK" sz="1400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4000" b="0" noProof="0">
                <a:solidFill>
                  <a:schemeClr val="tx1"/>
                </a:solidFill>
              </a:rPr>
              <a:t>If you see any </a:t>
            </a:r>
            <a:r>
              <a:rPr lang="da-DK" sz="4000" b="1" i="1" noProof="0">
                <a:solidFill>
                  <a:schemeClr val="tx1"/>
                </a:solidFill>
              </a:rPr>
              <a:t>layouts after this </a:t>
            </a:r>
            <a:r>
              <a:rPr lang="da-DK" sz="4000" b="0" i="0" noProof="0">
                <a:solidFill>
                  <a:schemeClr val="tx1"/>
                </a:solidFill>
              </a:rPr>
              <a:t>one</a:t>
            </a:r>
            <a:r>
              <a:rPr lang="da-DK" sz="4000" b="1" i="1" noProof="0">
                <a:solidFill>
                  <a:schemeClr val="tx1"/>
                </a:solidFill>
              </a:rPr>
              <a:t>,</a:t>
            </a:r>
            <a:br>
              <a:rPr lang="da-DK" sz="4000" b="0" i="0" noProof="0">
                <a:solidFill>
                  <a:schemeClr val="tx1"/>
                </a:solidFill>
              </a:rPr>
            </a:br>
            <a:r>
              <a:rPr lang="da-DK" sz="4000" b="0" noProof="0">
                <a:solidFill>
                  <a:schemeClr val="tx1"/>
                </a:solidFill>
              </a:rPr>
              <a:t>do not use them. These layouts </a:t>
            </a:r>
            <a:r>
              <a:rPr lang="da-DK" sz="4000" b="1" i="1" u="none" noProof="0">
                <a:solidFill>
                  <a:schemeClr val="tx1"/>
                </a:solidFill>
              </a:rPr>
              <a:t>are not </a:t>
            </a:r>
            <a:r>
              <a:rPr lang="da-DK" sz="4000" b="0" noProof="0">
                <a:solidFill>
                  <a:schemeClr val="tx1"/>
                </a:solidFill>
              </a:rPr>
              <a:t>part of our corporate template.</a:t>
            </a:r>
            <a:endParaRPr lang="da-DK" sz="2400" b="0" noProof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600"/>
                </a:spcBef>
                <a:buClr>
                  <a:srgbClr val="003755"/>
                </a:buClr>
              </a:pPr>
              <a:endParaRPr lang="da-DK" sz="1400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da-DK" sz="11500" b="1" i="1" noProof="0">
                <a:solidFill>
                  <a:schemeClr val="tx1"/>
                </a:solidFill>
              </a:rPr>
              <a:t>Do not use </a:t>
            </a:r>
            <a:endParaRPr lang="da-DK" sz="2000" b="1" i="1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800" b="0" noProof="0">
                <a:solidFill>
                  <a:schemeClr val="tx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rtl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800" b="0" noProof="0">
                <a:solidFill>
                  <a:schemeClr val="tx1"/>
                </a:solidFill>
              </a:rPr>
              <a:t>Also notice: Layouts after this might contain potential confidential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06357EC7-0D53-4A60-9E41-D75A47B48389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9834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0544082-CD7C-4DDF-9D66-47D49D57FA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96985"/>
              </p:ext>
            </p:extLst>
          </p:nvPr>
        </p:nvGraphicFramePr>
        <p:xfrm>
          <a:off x="1588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0544082-CD7C-4DDF-9D66-47D49D57FA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3" cy="748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Click to edit Master title style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798619" y="1644652"/>
            <a:ext cx="4886961" cy="40624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 spc="-100" baseline="0"/>
            </a:lvl5pPr>
          </a:lstStyle>
          <a:p>
            <a:pPr lvl="0"/>
            <a:r>
              <a:rPr lang="da-DK" noProof="0"/>
              <a:t>Click to edit Master text style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478155-5C9E-4D4A-AA75-125DF35A1CB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00072" y="1644651"/>
            <a:ext cx="4888549" cy="40624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1421AFA-3AE7-4CEA-BC9B-447859BED57B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B842E0E-6D91-4141-882C-6C91050C6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rtl="0">
              <a:defRPr lang="en-GB" sz="800" baseline="0"/>
            </a:lvl1pPr>
          </a:lstStyle>
          <a:p>
            <a:pPr algn="r"/>
            <a:endParaRPr lang="da-DK"/>
          </a:p>
        </p:txBody>
      </p:sp>
      <p:sp>
        <p:nvSpPr>
          <p:cNvPr id="7" name="Date Placeholder 9">
            <a:extLst>
              <a:ext uri="{FF2B5EF4-FFF2-40B4-BE49-F238E27FC236}">
                <a16:creationId xmlns:a16="http://schemas.microsoft.com/office/drawing/2014/main" id="{9636BB38-B4B3-4D1B-AD86-BCBC6FCBB7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>
              <a:defRPr lang="en-GB" sz="1200"/>
            </a:lvl1pPr>
          </a:lstStyle>
          <a:p>
            <a:fld id="{14461B16-EFAF-4605-9536-889EF879D324}" type="datetime1">
              <a:rPr lang="da-DK" smtClean="0"/>
              <a:pPr/>
              <a:t>13-01-2023</a:t>
            </a:fld>
            <a:r>
              <a:rPr lang="da-DK"/>
              <a:t>11/01/2018</a:t>
            </a:r>
          </a:p>
        </p:txBody>
      </p:sp>
    </p:spTree>
    <p:extLst>
      <p:ext uri="{BB962C8B-B14F-4D97-AF65-F5344CB8AC3E}">
        <p14:creationId xmlns:p14="http://schemas.microsoft.com/office/powerpoint/2010/main" val="14903908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CA882D-9D11-4EC4-AA9E-E5241B590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7045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CA882D-9D11-4EC4-AA9E-E5241B590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D1903C8B-6A03-40C4-AD50-AACDEC5FDA0C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vert="horz" anchor="t" anchorCtr="0"/>
          <a:lstStyle>
            <a:lvl1pPr algn="l" rtl="0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/>
              <a:t>Headlin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1586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D9F2FD-F451-410B-96F6-5E6285CCBC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2009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D9F2FD-F451-410B-96F6-5E6285CCBC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1B42BF88-9EAB-4FF1-8C7D-3D1A57D94546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vert="horz" anchor="t" anchorCtr="0"/>
          <a:lstStyle>
            <a:lvl1pPr algn="l" rtl="0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BE643BFE-CC71-4C45-A510-41469C9CD8F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20508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090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69591-0D86-4CFC-95A4-DD7C1951F1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35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69591-0D86-4CFC-95A4-DD7C1951F1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9BED15FA-6EE8-4B82-A537-F53ACAF84CA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  <a:p>
            <a:endParaRPr lang="da-DK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vert="horz" anchor="b" anchorCtr="0"/>
          <a:lstStyle>
            <a:lvl1pPr algn="l" rtl="0">
              <a:defRPr sz="6000"/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da-DK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023518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7D4F066-7ACD-43DD-8C6E-023855BC8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7969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7D4F066-7ACD-43DD-8C6E-023855BC8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ED06D66A-00D9-479B-9856-27577BF36107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vert="horz" anchor="t" anchorCtr="0"/>
          <a:lstStyle>
            <a:lvl1pPr algn="l" rtl="0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B01D38AB-220F-4FC4-8219-927BC28D87C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361634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2828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668D2A-7D4E-4ED3-BEB4-358F7F11BF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9974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668D2A-7D4E-4ED3-BEB4-358F7F11B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D3E1E10-4E6B-4C9C-B68B-DC96BC56ABFC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vert="horz" anchor="t" anchorCtr="0"/>
          <a:lstStyle>
            <a:lvl1pPr algn="l" rtl="0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DA2544AE-9170-440D-A7DE-3D8825007C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777917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8970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E80122-271D-4048-88DD-99A5F1C1D7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505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E80122-271D-4048-88DD-99A5F1C1D7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65259D24-E6A6-4D69-90CB-83073E8387B2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  <a:p>
            <a:endParaRPr lang="da-DK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vert="horz" anchor="b" anchorCtr="0"/>
          <a:lstStyle>
            <a:lvl1pPr algn="l" rtl="0">
              <a:defRPr sz="6000"/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da-DK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912421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720D5-DDE4-43B8-B9BA-006204FF06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1529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720D5-DDE4-43B8-B9BA-006204FF06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9BED15FA-6EE8-4B82-A537-F53ACAF84CA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</a:t>
            </a:r>
            <a:r>
              <a:rPr lang="da-DK"/>
              <a:t>using the Insert tab – Pictures or from Templafy</a:t>
            </a:r>
          </a:p>
          <a:p>
            <a:endParaRPr lang="da-DK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pPr lvl="0"/>
            <a:r>
              <a:rPr lang="da-DK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vert="horz" anchor="b" anchorCtr="0"/>
          <a:lstStyle>
            <a:lvl1pPr algn="l" rtl="0">
              <a:defRPr sz="6000"/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da-DK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487716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CB035D9-6EA4-4F93-9B7F-9367A2DF67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7272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CB035D9-6EA4-4F93-9B7F-9367A2DF67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4C6B010D-12BA-4529-B692-206652452F2C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vert="horz" anchor="b" anchorCtr="0"/>
          <a:lstStyle>
            <a:lvl1pPr algn="l" rtl="0">
              <a:defRPr sz="6000"/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da-DK"/>
              <a:t>Headline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4410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55FB58F-E646-4D2A-AF15-96902EAAE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1136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55FB58F-E646-4D2A-AF15-96902EAAE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 vert="horz"/>
          <a:lstStyle>
            <a:lvl1pPr rtl="0">
              <a:defRPr sz="4100"/>
            </a:lvl1pPr>
          </a:lstStyle>
          <a:p>
            <a:r>
              <a:rPr lang="da-DK" noProof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agenda point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527E5059-8FC8-469D-AF5C-AED221334502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187417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8A42284-B73E-4BC7-93EF-CAAA35F16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4832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8A42284-B73E-4BC7-93EF-CAAA35F16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 vert="horz"/>
          <a:lstStyle>
            <a:lvl1pPr rtl="0">
              <a:defRPr sz="410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/>
              <a:t>Click to add agenda point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0928051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FE92C6F-929F-4502-A258-BDADB5E1FE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9674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FE92C6F-929F-4502-A258-BDADB5E1FE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CC7FD-8EF4-43FC-BAB3-47E907F1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DE8F052-B495-40BE-9682-094846479C8E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C6AF5-5886-488E-94AF-540306D52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05638-6A02-4F90-BE63-DA3C1ABD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2219337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C2F76B9-4E5E-4760-9D0D-8D385C836B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2498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C2F76B9-4E5E-4760-9D0D-8D385C836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B4C9864-BFD0-4574-B370-8DFD1BF6363B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4230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A9CE3A-0731-44D1-A987-325195C1D5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106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A9CE3A-0731-44D1-A987-325195C1D5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9941A0D-1A7D-4418-872D-0A573109AE3D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75178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3E9AC4-53FD-4A7E-AABC-BCF55DB505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548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3E9AC4-53FD-4A7E-AABC-BCF55DB50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4C6B010D-12BA-4529-B692-206652452F2C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vert="horz" anchor="b" anchorCtr="0"/>
          <a:lstStyle>
            <a:lvl1pPr algn="l" rtl="0">
              <a:defRPr sz="6000"/>
            </a:lvl1pPr>
          </a:lstStyle>
          <a:p>
            <a:r>
              <a:rPr lang="da-DK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 rtl="0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da-DK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da-DK"/>
              <a:t>Headline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817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1D7B6EB-5C52-4321-BFD2-C443CD85C5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325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1D7B6EB-5C52-4321-BFD2-C443CD85C5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E630481-804D-4542-835F-93D05E69FE5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287547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5666E48-FF22-4DF2-993E-A13DE6D3EA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53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5666E48-FF22-4DF2-993E-A13DE6D3E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7BF43399-B145-4BBC-AF2A-C9EC8B4305A6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70879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44A08C5-1B00-45EE-852F-8119813F0F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388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44A08C5-1B00-45EE-852F-8119813F0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2D74F0F3-9842-478D-99B7-277D0E19CEC9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44564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321DA57-F678-4256-A575-59B5F53B3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4546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321DA57-F678-4256-A575-59B5F53B3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233B4BAF-2B92-4850-839C-D15349852EB5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04007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53201F-254C-4749-9B39-CC4FFCC256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3217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53201F-254C-4749-9B39-CC4FFCC25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 rtl="0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 rtl="0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 rtl="0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 rtl="0">
              <a:spcAft>
                <a:spcPts val="0"/>
              </a:spcAft>
              <a:buNone/>
              <a:defRPr sz="12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7B5352C5-81EC-4100-8EF4-0409291AC406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121524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FB2EF08-5CDD-4234-A1CA-415B9530F8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344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FB2EF08-5CDD-4234-A1CA-415B9530F8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4308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009CDD8-4BC5-4682-AA97-709AFEE19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794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009CDD8-4BC5-4682-AA97-709AFEE19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ACCEA19-5171-4127-A28C-C6D875C2D7D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5916145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9277BFD-FE01-4C7F-AEA0-DC575E61B6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210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9277BFD-FE01-4C7F-AEA0-DC575E61B6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0360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793A88-E11E-4E45-A755-5B3C34182F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0884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793A88-E11E-4E45-A755-5B3C34182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A67BCEC0-92C2-4FF9-A782-344903368E13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7909450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532DEF1-3A47-4BE0-AA8E-2B9C1AA440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453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532DEF1-3A47-4BE0-AA8E-2B9C1AA44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14D1594-E68D-46B5-98E0-BADEBF2D8E2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050978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072C035-C106-4DFB-BED9-0CF5A0C663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6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072C035-C106-4DFB-BED9-0CF5A0C663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 vert="horz"/>
          <a:lstStyle>
            <a:lvl1pPr rtl="0">
              <a:defRPr sz="4100"/>
            </a:lvl1pPr>
          </a:lstStyle>
          <a:p>
            <a:r>
              <a:rPr lang="da-DK" noProof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agenda point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527E5059-8FC8-469D-AF5C-AED221334502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47025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D5DF718-FEB8-4959-AC4C-DCE77C2E0A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824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D5DF718-FEB8-4959-AC4C-DCE77C2E0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265A58E6-12DB-4BF0-8165-AE5E60E9367A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83665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E96175C-5D8F-4780-84ED-7BF843B7BE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2521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E96175C-5D8F-4780-84ED-7BF843B7B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788231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64871E3-9777-4685-9384-C87299F8A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588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64871E3-9777-4685-9384-C87299F8A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6072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A29C38D-FE66-4F53-843C-76870B2FB5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7951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A29C38D-FE66-4F53-843C-76870B2FB5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accent2"/>
                </a:solidFill>
              </a:defRPr>
            </a:lvl2pPr>
            <a:lvl3pPr rtl="0">
              <a:defRPr>
                <a:solidFill>
                  <a:schemeClr val="accent2"/>
                </a:solidFill>
              </a:defRPr>
            </a:lvl3pPr>
            <a:lvl4pPr rtl="0">
              <a:defRPr>
                <a:solidFill>
                  <a:schemeClr val="accent2"/>
                </a:solidFill>
              </a:defRPr>
            </a:lvl4pPr>
            <a:lvl5pPr rtl="0">
              <a:defRPr>
                <a:solidFill>
                  <a:schemeClr val="accent2"/>
                </a:solidFill>
              </a:defRPr>
            </a:lvl5pPr>
            <a:lvl6pPr rtl="0">
              <a:defRPr>
                <a:solidFill>
                  <a:schemeClr val="accent2"/>
                </a:solidFill>
              </a:defRPr>
            </a:lvl6pPr>
            <a:lvl7pPr rtl="0">
              <a:defRPr>
                <a:solidFill>
                  <a:schemeClr val="accent2"/>
                </a:solidFill>
              </a:defRPr>
            </a:lvl7pPr>
            <a:lvl8pPr rtl="0">
              <a:defRPr>
                <a:solidFill>
                  <a:schemeClr val="accent2"/>
                </a:solidFill>
              </a:defRPr>
            </a:lvl8pPr>
            <a:lvl9pPr rtl="0"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41504849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BBB036A-F44F-4152-834E-CCB9BB48F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5484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BBB036A-F44F-4152-834E-CCB9BB48F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accent2"/>
                </a:solidFill>
              </a:defRPr>
            </a:lvl2pPr>
            <a:lvl3pPr rtl="0">
              <a:defRPr>
                <a:solidFill>
                  <a:schemeClr val="accent2"/>
                </a:solidFill>
              </a:defRPr>
            </a:lvl3pPr>
            <a:lvl4pPr rtl="0">
              <a:defRPr>
                <a:solidFill>
                  <a:schemeClr val="accent2"/>
                </a:solidFill>
              </a:defRPr>
            </a:lvl4pPr>
            <a:lvl5pPr rtl="0">
              <a:defRPr>
                <a:solidFill>
                  <a:schemeClr val="accent2"/>
                </a:solidFill>
              </a:defRPr>
            </a:lvl5pPr>
            <a:lvl6pPr rtl="0">
              <a:defRPr>
                <a:solidFill>
                  <a:schemeClr val="accent2"/>
                </a:solidFill>
              </a:defRPr>
            </a:lvl6pPr>
            <a:lvl7pPr rtl="0">
              <a:defRPr>
                <a:solidFill>
                  <a:schemeClr val="accent2"/>
                </a:solidFill>
              </a:defRPr>
            </a:lvl7pPr>
            <a:lvl8pPr rtl="0">
              <a:defRPr>
                <a:solidFill>
                  <a:schemeClr val="accent2"/>
                </a:solidFill>
              </a:defRPr>
            </a:lvl8pPr>
            <a:lvl9pPr rtl="0"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8782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20C5AC-7F97-4780-8D17-5CF91D722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3935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20C5AC-7F97-4780-8D17-5CF91D722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C4B04AE4-03BB-4174-AD21-7567A4C959F4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979223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C3420D0-3A15-4746-9619-7DD9F1E8F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4856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C3420D0-3A15-4746-9619-7DD9F1E8F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3A46E679-721E-4A44-A034-B3833441D488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56856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77E923-39BD-4304-83DE-9C6EA5862A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4315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77E923-39BD-4304-83DE-9C6EA5862A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F6C1ADEE-7B52-423A-9878-0398FEFAF71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7042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B328370-86C9-4D75-B89D-955A761169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7048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B328370-86C9-4D75-B89D-955A761169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3FD627AC-F023-4E38-BBE2-8CC6A4B15F9B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79707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514C240-EC5E-41DB-A2D0-A6EE5BB1C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15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514C240-EC5E-41DB-A2D0-A6EE5BB1C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791AE312-9C38-4B88-A1BD-03872F0FCB4A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4129056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4F77144-A626-41C0-B5D0-28D0D8224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0787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4F77144-A626-41C0-B5D0-28D0D8224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 vert="horz"/>
          <a:lstStyle>
            <a:lvl1pPr rtl="0">
              <a:defRPr sz="4100">
                <a:solidFill>
                  <a:schemeClr val="tx1"/>
                </a:solidFill>
              </a:defRPr>
            </a:lvl1pPr>
          </a:lstStyle>
          <a:p>
            <a:r>
              <a:rPr lang="da-DK" noProof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 rtl="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a-DK" noProof="0"/>
              <a:t>Click to add agenda point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8112712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FD55427-753F-42E8-BFFF-871E2B5F5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430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FD55427-753F-42E8-BFFF-871E2B5F5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3179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45FAF3-C39C-4C2D-BE91-83532A171D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0223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45FAF3-C39C-4C2D-BE91-83532A171D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/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6093368-26E3-4532-8FD8-7B783022E688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4715328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8196D1A-A499-419C-A556-E29E4C19DA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3845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8196D1A-A499-419C-A556-E29E4C19DA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51E3A26-CACC-472F-999E-6CEDC51DAFFB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420929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08E855-05C1-40E4-8572-FB8D702ECB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62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08E855-05C1-40E4-8572-FB8D702EC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923212C7-A548-4370-9C24-272889F12011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315441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2125A9D-26A9-4B45-ABFD-74410EF33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141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2125A9D-26A9-4B45-ABFD-74410EF33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393CB94-5BA6-4B5C-8025-21D6F4E52D5E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686973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C144B14-F2E0-45C9-B0AC-94FA86D38B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9923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C144B14-F2E0-45C9-B0AC-94FA86D38B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655156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447E694-88EA-4905-B2D3-B5A05835F7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065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447E694-88EA-4905-B2D3-B5A05835F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 rtl="0">
              <a:defRPr>
                <a:solidFill>
                  <a:schemeClr val="bg1"/>
                </a:solidFill>
              </a:defRPr>
            </a:lvl6pPr>
            <a:lvl7pPr rtl="0">
              <a:defRPr>
                <a:solidFill>
                  <a:schemeClr val="bg1"/>
                </a:solidFill>
              </a:defRPr>
            </a:lvl7pPr>
            <a:lvl8pPr rtl="0">
              <a:defRPr>
                <a:solidFill>
                  <a:schemeClr val="bg1"/>
                </a:solidFill>
              </a:defRPr>
            </a:lvl8pPr>
            <a:lvl9pPr rtl="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6F065B1-CCC8-4072-99B6-C71232109F4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421488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F34690C-25EC-4643-A659-A407655355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126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F34690C-25EC-4643-A659-A40765535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accent2"/>
                </a:solidFill>
              </a:defRPr>
            </a:lvl2pPr>
            <a:lvl3pPr rtl="0">
              <a:defRPr>
                <a:solidFill>
                  <a:schemeClr val="accent2"/>
                </a:solidFill>
              </a:defRPr>
            </a:lvl3pPr>
            <a:lvl4pPr rtl="0">
              <a:defRPr>
                <a:solidFill>
                  <a:schemeClr val="accent2"/>
                </a:solidFill>
              </a:defRPr>
            </a:lvl4pPr>
            <a:lvl5pPr rtl="0">
              <a:defRPr>
                <a:solidFill>
                  <a:schemeClr val="accent2"/>
                </a:solidFill>
              </a:defRPr>
            </a:lvl5pPr>
            <a:lvl6pPr rtl="0">
              <a:defRPr>
                <a:solidFill>
                  <a:schemeClr val="accent2"/>
                </a:solidFill>
              </a:defRPr>
            </a:lvl6pPr>
            <a:lvl7pPr rtl="0">
              <a:defRPr>
                <a:solidFill>
                  <a:schemeClr val="accent2"/>
                </a:solidFill>
              </a:defRPr>
            </a:lvl7pPr>
            <a:lvl8pPr rtl="0">
              <a:defRPr>
                <a:solidFill>
                  <a:schemeClr val="accent2"/>
                </a:solidFill>
              </a:defRPr>
            </a:lvl8pPr>
            <a:lvl9pPr rtl="0"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48985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5F04DE7-660B-413B-89C2-A44CC1328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4942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5F04DE7-660B-413B-89C2-A44CC1328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 vert="horz"/>
          <a:lstStyle>
            <a:lvl1pPr rtl="0"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da-DK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 rtl="0">
              <a:defRPr>
                <a:solidFill>
                  <a:schemeClr val="accent2"/>
                </a:solidFill>
              </a:defRPr>
            </a:lvl1pPr>
            <a:lvl2pPr rtl="0">
              <a:defRPr>
                <a:solidFill>
                  <a:schemeClr val="accent2"/>
                </a:solidFill>
              </a:defRPr>
            </a:lvl2pPr>
            <a:lvl3pPr rtl="0">
              <a:defRPr>
                <a:solidFill>
                  <a:schemeClr val="accent2"/>
                </a:solidFill>
              </a:defRPr>
            </a:lvl3pPr>
            <a:lvl4pPr rtl="0">
              <a:defRPr>
                <a:solidFill>
                  <a:schemeClr val="accent2"/>
                </a:solidFill>
              </a:defRPr>
            </a:lvl4pPr>
            <a:lvl5pPr rtl="0">
              <a:defRPr>
                <a:solidFill>
                  <a:schemeClr val="accent2"/>
                </a:solidFill>
              </a:defRPr>
            </a:lvl5pPr>
            <a:lvl6pPr rtl="0">
              <a:defRPr>
                <a:solidFill>
                  <a:schemeClr val="accent2"/>
                </a:solidFill>
              </a:defRPr>
            </a:lvl6pPr>
            <a:lvl7pPr rtl="0">
              <a:defRPr>
                <a:solidFill>
                  <a:schemeClr val="accent2"/>
                </a:solidFill>
              </a:defRPr>
            </a:lvl7pPr>
            <a:lvl8pPr rtl="0">
              <a:defRPr>
                <a:solidFill>
                  <a:schemeClr val="accent2"/>
                </a:solidFill>
              </a:defRPr>
            </a:lvl8pPr>
            <a:lvl9pPr rtl="0"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 rtl="0">
              <a:defRPr>
                <a:solidFill>
                  <a:srgbClr val="333333"/>
                </a:solidFill>
              </a:defRPr>
            </a:lvl1pPr>
            <a:lvl2pPr rtl="0">
              <a:defRPr>
                <a:solidFill>
                  <a:srgbClr val="333333"/>
                </a:solidFill>
              </a:defRPr>
            </a:lvl2pPr>
            <a:lvl3pPr rtl="0">
              <a:defRPr>
                <a:solidFill>
                  <a:srgbClr val="333333"/>
                </a:solidFill>
              </a:defRPr>
            </a:lvl3pPr>
            <a:lvl4pPr rtl="0">
              <a:defRPr>
                <a:solidFill>
                  <a:srgbClr val="333333"/>
                </a:solidFill>
              </a:defRPr>
            </a:lvl4pPr>
            <a:lvl5pPr rtl="0">
              <a:defRPr>
                <a:solidFill>
                  <a:schemeClr val="tx2"/>
                </a:solidFill>
              </a:defRPr>
            </a:lvl5pPr>
            <a:lvl6pPr rtl="0">
              <a:defRPr>
                <a:solidFill>
                  <a:schemeClr val="tx2"/>
                </a:solidFill>
              </a:defRPr>
            </a:lvl6pPr>
            <a:lvl7pPr rtl="0">
              <a:defRPr>
                <a:solidFill>
                  <a:srgbClr val="333333"/>
                </a:solidFill>
              </a:defRPr>
            </a:lvl7pPr>
            <a:lvl8pPr rtl="0">
              <a:defRPr>
                <a:solidFill>
                  <a:srgbClr val="333333"/>
                </a:solidFill>
              </a:defRPr>
            </a:lvl8pPr>
            <a:lvl9pPr rtl="0"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da-DK" noProof="0"/>
              <a:t>Click to add text </a:t>
            </a:r>
            <a:br>
              <a:rPr lang="da-DK" noProof="0"/>
            </a:br>
            <a:r>
              <a:rPr lang="da-DK" noProof="0"/>
              <a:t>Enter &amp; TAB for next text level</a:t>
            </a:r>
            <a:br>
              <a:rPr lang="da-DK" noProof="0"/>
            </a:br>
            <a:r>
              <a:rPr lang="da-DK" noProof="0"/>
              <a:t>SHIFT+TAB to go back in levels</a:t>
            </a:r>
            <a:endParaRPr lang="da-DK"/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  <a:p>
            <a:pPr lvl="5"/>
            <a:r>
              <a:rPr lang="da-DK" noProof="0"/>
              <a:t>6</a:t>
            </a:r>
          </a:p>
          <a:p>
            <a:pPr lvl="6"/>
            <a:r>
              <a:rPr lang="da-DK" noProof="0"/>
              <a:t>7</a:t>
            </a:r>
          </a:p>
          <a:p>
            <a:pPr lvl="7"/>
            <a:r>
              <a:rPr lang="da-DK" noProof="0"/>
              <a:t>8</a:t>
            </a:r>
          </a:p>
          <a:p>
            <a:pPr lvl="8"/>
            <a:r>
              <a:rPr lang="da-DK" noProof="0"/>
              <a:t>9</a:t>
            </a:r>
            <a:endParaRPr lang="da-DK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9EE3078-35F5-4450-8DDB-1711F663AF0B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8619735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C871B7-74A1-4D95-9473-892F07F19F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84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24" imgH="623" progId="TCLayout.ActiveDocument.1">
                  <p:embed/>
                </p:oleObj>
              </mc:Choice>
              <mc:Fallback>
                <p:oleObj name="think-cell Slide" r:id="rId3" imgW="624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C871B7-74A1-4D95-9473-892F07F19F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87CEE0B2-D606-4C87-BD16-18AC95AF549F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 rtl="0">
              <a:defRPr sz="100">
                <a:noFill/>
              </a:defRPr>
            </a:lvl1pPr>
          </a:lstStyle>
          <a:p>
            <a:endParaRPr lang="da-DK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 rtl="0">
              <a:spcAft>
                <a:spcPts val="0"/>
              </a:spcAft>
              <a:buNone/>
              <a:defRPr sz="1600"/>
            </a:lvl1pPr>
          </a:lstStyle>
          <a:p>
            <a:r>
              <a:rPr lang="da-DK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744924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9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78.xml"/><Relationship Id="rId34" Type="http://schemas.openxmlformats.org/officeDocument/2006/relationships/slideLayout" Target="../slideLayouts/slideLayout91.xml"/><Relationship Id="rId42" Type="http://schemas.openxmlformats.org/officeDocument/2006/relationships/slideLayout" Target="../slideLayouts/slideLayout99.xml"/><Relationship Id="rId47" Type="http://schemas.openxmlformats.org/officeDocument/2006/relationships/slideLayout" Target="../slideLayouts/slideLayout104.xml"/><Relationship Id="rId50" Type="http://schemas.openxmlformats.org/officeDocument/2006/relationships/slideLayout" Target="../slideLayouts/slideLayout107.xml"/><Relationship Id="rId55" Type="http://schemas.openxmlformats.org/officeDocument/2006/relationships/slideLayout" Target="../slideLayouts/slideLayout112.xml"/><Relationship Id="rId63" Type="http://schemas.openxmlformats.org/officeDocument/2006/relationships/oleObject" Target="../embeddings/oleObject59.bin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86.xml"/><Relationship Id="rId41" Type="http://schemas.openxmlformats.org/officeDocument/2006/relationships/slideLayout" Target="../slideLayouts/slideLayout98.xml"/><Relationship Id="rId54" Type="http://schemas.openxmlformats.org/officeDocument/2006/relationships/slideLayout" Target="../slideLayouts/slideLayout111.xml"/><Relationship Id="rId62" Type="http://schemas.openxmlformats.org/officeDocument/2006/relationships/tags" Target="../tags/tag60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4.xml"/><Relationship Id="rId40" Type="http://schemas.openxmlformats.org/officeDocument/2006/relationships/slideLayout" Target="../slideLayouts/slideLayout97.xml"/><Relationship Id="rId45" Type="http://schemas.openxmlformats.org/officeDocument/2006/relationships/slideLayout" Target="../slideLayouts/slideLayout102.xml"/><Relationship Id="rId53" Type="http://schemas.openxmlformats.org/officeDocument/2006/relationships/slideLayout" Target="../slideLayouts/slideLayout110.xml"/><Relationship Id="rId58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slideLayout" Target="../slideLayouts/slideLayout93.xml"/><Relationship Id="rId49" Type="http://schemas.openxmlformats.org/officeDocument/2006/relationships/slideLayout" Target="../slideLayouts/slideLayout106.xml"/><Relationship Id="rId57" Type="http://schemas.openxmlformats.org/officeDocument/2006/relationships/slideLayout" Target="../slideLayouts/slideLayout114.xml"/><Relationship Id="rId61" Type="http://schemas.openxmlformats.org/officeDocument/2006/relationships/theme" Target="../theme/theme2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88.xml"/><Relationship Id="rId44" Type="http://schemas.openxmlformats.org/officeDocument/2006/relationships/slideLayout" Target="../slideLayouts/slideLayout101.xml"/><Relationship Id="rId52" Type="http://schemas.openxmlformats.org/officeDocument/2006/relationships/slideLayout" Target="../slideLayouts/slideLayout109.xml"/><Relationship Id="rId6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92.xml"/><Relationship Id="rId43" Type="http://schemas.openxmlformats.org/officeDocument/2006/relationships/slideLayout" Target="../slideLayouts/slideLayout100.xml"/><Relationship Id="rId48" Type="http://schemas.openxmlformats.org/officeDocument/2006/relationships/slideLayout" Target="../slideLayouts/slideLayout105.xml"/><Relationship Id="rId56" Type="http://schemas.openxmlformats.org/officeDocument/2006/relationships/slideLayout" Target="../slideLayouts/slideLayout113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65.xml"/><Relationship Id="rId51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5.xml"/><Relationship Id="rId46" Type="http://schemas.openxmlformats.org/officeDocument/2006/relationships/slideLayout" Target="../slideLayouts/slideLayout103.xml"/><Relationship Id="rId59" Type="http://schemas.openxmlformats.org/officeDocument/2006/relationships/slideLayout" Target="../slideLayouts/slideLayout1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5FBCABB-C9FE-4B48-B7E4-910E9CCD35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1277315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360" imgH="360" progId="TCLayout.ActiveDocument.1">
                  <p:embed/>
                </p:oleObj>
              </mc:Choice>
              <mc:Fallback>
                <p:oleObj name="think-cell Slide" r:id="rId60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5FBCABB-C9FE-4B48-B7E4-910E9CCD3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/>
              <a:endParaRPr lang="da-DK" sz="2000" noProof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/>
              <a:endParaRPr lang="da-DK" sz="2000" noProof="0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Level 1 (Enter+TAB for next text level, SHIFT+TAB to go back in levels)</a:t>
            </a:r>
          </a:p>
          <a:p>
            <a:pPr lvl="1"/>
            <a:r>
              <a:rPr lang="da-DK" noProof="0"/>
              <a:t>Level 2</a:t>
            </a:r>
          </a:p>
          <a:p>
            <a:pPr lvl="2"/>
            <a:r>
              <a:rPr lang="da-DK" noProof="0"/>
              <a:t>Level 3</a:t>
            </a:r>
          </a:p>
          <a:p>
            <a:pPr lvl="3"/>
            <a:r>
              <a:rPr lang="da-DK" noProof="0"/>
              <a:t>Level 4</a:t>
            </a:r>
          </a:p>
          <a:p>
            <a:pPr lvl="4"/>
            <a:r>
              <a:rPr lang="da-DK" noProof="0"/>
              <a:t>Level 5</a:t>
            </a:r>
          </a:p>
          <a:p>
            <a:pPr lvl="5"/>
            <a:r>
              <a:rPr lang="da-DK" noProof="0"/>
              <a:t>Level 6</a:t>
            </a:r>
          </a:p>
          <a:p>
            <a:pPr lvl="6"/>
            <a:r>
              <a:rPr lang="da-DK" noProof="0"/>
              <a:t>Level 7</a:t>
            </a:r>
          </a:p>
          <a:p>
            <a:pPr lvl="7"/>
            <a:r>
              <a:rPr lang="da-DK" noProof="0"/>
              <a:t>Level 8</a:t>
            </a:r>
          </a:p>
          <a:p>
            <a:pPr lvl="8"/>
            <a:r>
              <a:rPr lang="da-DK" noProof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700">
                <a:solidFill>
                  <a:schemeClr val="tx2"/>
                </a:solidFill>
              </a:defRPr>
            </a:lvl1pPr>
          </a:lstStyle>
          <a:p>
            <a:fld id="{EE293F28-83DD-43B4-A46C-AE697B78ED12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700">
                <a:solidFill>
                  <a:schemeClr val="tx2"/>
                </a:solidFill>
              </a:defRPr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772" r:id="rId21"/>
    <p:sldLayoutId id="2147483669" r:id="rId22"/>
    <p:sldLayoutId id="2147483670" r:id="rId23"/>
    <p:sldLayoutId id="2147483671" r:id="rId24"/>
    <p:sldLayoutId id="2147483672" r:id="rId25"/>
    <p:sldLayoutId id="2147483673" r:id="rId26"/>
    <p:sldLayoutId id="2147483674" r:id="rId27"/>
    <p:sldLayoutId id="2147483675" r:id="rId28"/>
    <p:sldLayoutId id="2147483676" r:id="rId29"/>
    <p:sldLayoutId id="2147483677" r:id="rId30"/>
    <p:sldLayoutId id="2147483678" r:id="rId31"/>
    <p:sldLayoutId id="2147483679" r:id="rId32"/>
    <p:sldLayoutId id="2147483680" r:id="rId33"/>
    <p:sldLayoutId id="2147483681" r:id="rId34"/>
    <p:sldLayoutId id="2147483682" r:id="rId35"/>
    <p:sldLayoutId id="2147483683" r:id="rId36"/>
    <p:sldLayoutId id="2147483684" r:id="rId37"/>
    <p:sldLayoutId id="2147483685" r:id="rId38"/>
    <p:sldLayoutId id="2147483686" r:id="rId39"/>
    <p:sldLayoutId id="2147483687" r:id="rId40"/>
    <p:sldLayoutId id="2147483688" r:id="rId41"/>
    <p:sldLayoutId id="2147483689" r:id="rId42"/>
    <p:sldLayoutId id="2147483690" r:id="rId43"/>
    <p:sldLayoutId id="2147483691" r:id="rId44"/>
    <p:sldLayoutId id="2147483692" r:id="rId45"/>
    <p:sldLayoutId id="2147483693" r:id="rId46"/>
    <p:sldLayoutId id="2147483694" r:id="rId47"/>
    <p:sldLayoutId id="2147483695" r:id="rId48"/>
    <p:sldLayoutId id="2147483696" r:id="rId49"/>
    <p:sldLayoutId id="2147483697" r:id="rId50"/>
    <p:sldLayoutId id="2147483698" r:id="rId51"/>
    <p:sldLayoutId id="2147483699" r:id="rId52"/>
    <p:sldLayoutId id="2147483700" r:id="rId53"/>
    <p:sldLayoutId id="2147483701" r:id="rId54"/>
    <p:sldLayoutId id="2147483702" r:id="rId55"/>
    <p:sldLayoutId id="2147483703" r:id="rId56"/>
    <p:sldLayoutId id="2147483707" r:id="rId5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10" userDrawn="1">
          <p15:clr>
            <a:srgbClr val="F26B43"/>
          </p15:clr>
        </p15:guide>
        <p15:guide id="4" orient="horz" pos="4135" userDrawn="1">
          <p15:clr>
            <a:srgbClr val="A4A3A4"/>
          </p15:clr>
        </p15:guide>
        <p15:guide id="5" pos="226" userDrawn="1">
          <p15:clr>
            <a:srgbClr val="F26B43"/>
          </p15:clr>
        </p15:guide>
        <p15:guide id="6" pos="7453" userDrawn="1">
          <p15:clr>
            <a:srgbClr val="F26B43"/>
          </p15:clr>
        </p15:guide>
        <p15:guide id="7" orient="horz" pos="1152" userDrawn="1">
          <p15:clr>
            <a:srgbClr val="F26B43"/>
          </p15:clr>
        </p15:guide>
        <p15:guide id="16" pos="3726" userDrawn="1">
          <p15:clr>
            <a:srgbClr val="A4A3A4"/>
          </p15:clr>
        </p15:guide>
        <p15:guide id="17" pos="3953" userDrawn="1">
          <p15:clr>
            <a:srgbClr val="A4A3A4"/>
          </p15:clr>
        </p15:guide>
        <p15:guide id="28" orient="horz" pos="385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5FBCABB-C9FE-4B48-B7E4-910E9CCD35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2497089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3" imgW="360" imgH="360" progId="TCLayout.ActiveDocument.1">
                  <p:embed/>
                </p:oleObj>
              </mc:Choice>
              <mc:Fallback>
                <p:oleObj name="think-cell Slide" r:id="rId63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5FBCABB-C9FE-4B48-B7E4-910E9CCD3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/>
              <a:endParaRPr lang="da-DK" sz="2000" noProof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a-DK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 rtl="0"/>
              <a:endParaRPr lang="da-DK" sz="2000" noProof="0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da-DK" sz="70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Level 1 (Enter+TAB for next text level, SHIFT+TAB to go back in levels)</a:t>
            </a:r>
          </a:p>
          <a:p>
            <a:pPr lvl="1"/>
            <a:r>
              <a:rPr lang="da-DK" noProof="0"/>
              <a:t>Level 2</a:t>
            </a:r>
          </a:p>
          <a:p>
            <a:pPr lvl="2"/>
            <a:r>
              <a:rPr lang="da-DK" noProof="0"/>
              <a:t>Level 3</a:t>
            </a:r>
          </a:p>
          <a:p>
            <a:pPr lvl="3"/>
            <a:r>
              <a:rPr lang="da-DK" noProof="0"/>
              <a:t>Level 4</a:t>
            </a:r>
          </a:p>
          <a:p>
            <a:pPr lvl="4"/>
            <a:r>
              <a:rPr lang="da-DK" noProof="0"/>
              <a:t>Level 5</a:t>
            </a:r>
          </a:p>
          <a:p>
            <a:pPr lvl="5"/>
            <a:r>
              <a:rPr lang="da-DK" noProof="0"/>
              <a:t>Level 6</a:t>
            </a:r>
          </a:p>
          <a:p>
            <a:pPr lvl="6"/>
            <a:r>
              <a:rPr lang="da-DK" noProof="0"/>
              <a:t>Level 7</a:t>
            </a:r>
          </a:p>
          <a:p>
            <a:pPr lvl="7"/>
            <a:r>
              <a:rPr lang="da-DK" noProof="0"/>
              <a:t>Level 8</a:t>
            </a:r>
          </a:p>
          <a:p>
            <a:pPr lvl="8"/>
            <a:r>
              <a:rPr lang="da-DK" noProof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700">
                <a:solidFill>
                  <a:schemeClr val="tx2"/>
                </a:solidFill>
              </a:defRPr>
            </a:lvl1pPr>
          </a:lstStyle>
          <a:p>
            <a:fld id="{EE293F28-83DD-43B4-A46C-AE697B78ED12}" type="datetime1">
              <a:rPr lang="da-DK" smtClean="0"/>
              <a:pPr/>
              <a:t>13-01-2023</a:t>
            </a:fld>
            <a:endParaRPr lang="da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700">
                <a:solidFill>
                  <a:schemeClr val="tx2"/>
                </a:solidFill>
              </a:defRPr>
            </a:lvl1pPr>
          </a:lstStyle>
          <a:p>
            <a:endParaRPr lang="da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rtl="0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00140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2" r:id="rId42"/>
    <p:sldLayoutId id="2147483753" r:id="rId43"/>
    <p:sldLayoutId id="2147483754" r:id="rId44"/>
    <p:sldLayoutId id="2147483755" r:id="rId45"/>
    <p:sldLayoutId id="2147483756" r:id="rId46"/>
    <p:sldLayoutId id="2147483757" r:id="rId47"/>
    <p:sldLayoutId id="2147483758" r:id="rId48"/>
    <p:sldLayoutId id="2147483759" r:id="rId49"/>
    <p:sldLayoutId id="2147483760" r:id="rId50"/>
    <p:sldLayoutId id="2147483761" r:id="rId51"/>
    <p:sldLayoutId id="2147483762" r:id="rId52"/>
    <p:sldLayoutId id="2147483763" r:id="rId53"/>
    <p:sldLayoutId id="2147483764" r:id="rId54"/>
    <p:sldLayoutId id="2147483765" r:id="rId55"/>
    <p:sldLayoutId id="2147483766" r:id="rId56"/>
    <p:sldLayoutId id="2147483767" r:id="rId57"/>
    <p:sldLayoutId id="2147483768" r:id="rId58"/>
    <p:sldLayoutId id="2147483769" r:id="rId59"/>
    <p:sldLayoutId id="2147483770" r:id="rId6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410">
          <p15:clr>
            <a:srgbClr val="F26B43"/>
          </p15:clr>
        </p15:guide>
        <p15:guide id="4" orient="horz" pos="4135">
          <p15:clr>
            <a:srgbClr val="A4A3A4"/>
          </p15:clr>
        </p15:guide>
        <p15:guide id="5" pos="226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 pos="1152">
          <p15:clr>
            <a:srgbClr val="F26B43"/>
          </p15:clr>
        </p15:guide>
        <p15:guide id="16" pos="3726">
          <p15:clr>
            <a:srgbClr val="A4A3A4"/>
          </p15:clr>
        </p15:guide>
        <p15:guide id="17" pos="3953">
          <p15:clr>
            <a:srgbClr val="A4A3A4"/>
          </p15:clr>
        </p15:guide>
        <p15:guide id="28" orient="horz" pos="38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3.jpe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12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44.xml"/><Relationship Id="rId13" Type="http://schemas.openxmlformats.org/officeDocument/2006/relationships/oleObject" Target="../embeddings/oleObject129.bin"/><Relationship Id="rId18" Type="http://schemas.openxmlformats.org/officeDocument/2006/relationships/image" Target="../media/image46.emf"/><Relationship Id="rId3" Type="http://schemas.openxmlformats.org/officeDocument/2006/relationships/tags" Target="../tags/tag339.xml"/><Relationship Id="rId7" Type="http://schemas.openxmlformats.org/officeDocument/2006/relationships/tags" Target="../tags/tag343.xml"/><Relationship Id="rId12" Type="http://schemas.openxmlformats.org/officeDocument/2006/relationships/notesSlide" Target="../notesSlides/notesSlide10.xml"/><Relationship Id="rId17" Type="http://schemas.openxmlformats.org/officeDocument/2006/relationships/image" Target="../media/image45.emf"/><Relationship Id="rId2" Type="http://schemas.openxmlformats.org/officeDocument/2006/relationships/tags" Target="../tags/tag338.xml"/><Relationship Id="rId16" Type="http://schemas.openxmlformats.org/officeDocument/2006/relationships/image" Target="../media/image44.emf"/><Relationship Id="rId1" Type="http://schemas.openxmlformats.org/officeDocument/2006/relationships/tags" Target="../tags/tag337.xml"/><Relationship Id="rId6" Type="http://schemas.openxmlformats.org/officeDocument/2006/relationships/tags" Target="../tags/tag342.xml"/><Relationship Id="rId11" Type="http://schemas.openxmlformats.org/officeDocument/2006/relationships/slideLayout" Target="../slideLayouts/slideLayout48.xml"/><Relationship Id="rId5" Type="http://schemas.openxmlformats.org/officeDocument/2006/relationships/tags" Target="../tags/tag341.xml"/><Relationship Id="rId15" Type="http://schemas.openxmlformats.org/officeDocument/2006/relationships/chart" Target="../charts/chart12.xml"/><Relationship Id="rId10" Type="http://schemas.openxmlformats.org/officeDocument/2006/relationships/tags" Target="../tags/tag346.xml"/><Relationship Id="rId4" Type="http://schemas.openxmlformats.org/officeDocument/2006/relationships/tags" Target="../tags/tag340.xml"/><Relationship Id="rId9" Type="http://schemas.openxmlformats.org/officeDocument/2006/relationships/tags" Target="../tags/tag345.xml"/><Relationship Id="rId14" Type="http://schemas.openxmlformats.org/officeDocument/2006/relationships/image" Target="../media/image25.emf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359.xml"/><Relationship Id="rId18" Type="http://schemas.openxmlformats.org/officeDocument/2006/relationships/tags" Target="../tags/tag364.xml"/><Relationship Id="rId26" Type="http://schemas.openxmlformats.org/officeDocument/2006/relationships/tags" Target="../tags/tag372.xml"/><Relationship Id="rId39" Type="http://schemas.openxmlformats.org/officeDocument/2006/relationships/tags" Target="../tags/tag385.xml"/><Relationship Id="rId21" Type="http://schemas.openxmlformats.org/officeDocument/2006/relationships/tags" Target="../tags/tag367.xml"/><Relationship Id="rId34" Type="http://schemas.openxmlformats.org/officeDocument/2006/relationships/tags" Target="../tags/tag380.xml"/><Relationship Id="rId42" Type="http://schemas.openxmlformats.org/officeDocument/2006/relationships/tags" Target="../tags/tag388.xml"/><Relationship Id="rId47" Type="http://schemas.openxmlformats.org/officeDocument/2006/relationships/tags" Target="../tags/tag393.xml"/><Relationship Id="rId50" Type="http://schemas.openxmlformats.org/officeDocument/2006/relationships/tags" Target="../tags/tag396.xml"/><Relationship Id="rId55" Type="http://schemas.openxmlformats.org/officeDocument/2006/relationships/tags" Target="../tags/tag401.xml"/><Relationship Id="rId63" Type="http://schemas.openxmlformats.org/officeDocument/2006/relationships/oleObject" Target="../embeddings/oleObject130.bin"/><Relationship Id="rId7" Type="http://schemas.openxmlformats.org/officeDocument/2006/relationships/tags" Target="../tags/tag353.xml"/><Relationship Id="rId2" Type="http://schemas.openxmlformats.org/officeDocument/2006/relationships/tags" Target="../tags/tag348.xml"/><Relationship Id="rId16" Type="http://schemas.openxmlformats.org/officeDocument/2006/relationships/tags" Target="../tags/tag362.xml"/><Relationship Id="rId29" Type="http://schemas.openxmlformats.org/officeDocument/2006/relationships/tags" Target="../tags/tag375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tags" Target="../tags/tag357.xml"/><Relationship Id="rId24" Type="http://schemas.openxmlformats.org/officeDocument/2006/relationships/tags" Target="../tags/tag370.xml"/><Relationship Id="rId32" Type="http://schemas.openxmlformats.org/officeDocument/2006/relationships/tags" Target="../tags/tag378.xml"/><Relationship Id="rId37" Type="http://schemas.openxmlformats.org/officeDocument/2006/relationships/tags" Target="../tags/tag383.xml"/><Relationship Id="rId40" Type="http://schemas.openxmlformats.org/officeDocument/2006/relationships/tags" Target="../tags/tag386.xml"/><Relationship Id="rId45" Type="http://schemas.openxmlformats.org/officeDocument/2006/relationships/tags" Target="../tags/tag391.xml"/><Relationship Id="rId53" Type="http://schemas.openxmlformats.org/officeDocument/2006/relationships/tags" Target="../tags/tag399.xml"/><Relationship Id="rId58" Type="http://schemas.openxmlformats.org/officeDocument/2006/relationships/tags" Target="../tags/tag404.xml"/><Relationship Id="rId66" Type="http://schemas.openxmlformats.org/officeDocument/2006/relationships/chart" Target="../charts/chart14.xml"/><Relationship Id="rId5" Type="http://schemas.openxmlformats.org/officeDocument/2006/relationships/tags" Target="../tags/tag351.xml"/><Relationship Id="rId15" Type="http://schemas.openxmlformats.org/officeDocument/2006/relationships/tags" Target="../tags/tag361.xml"/><Relationship Id="rId23" Type="http://schemas.openxmlformats.org/officeDocument/2006/relationships/tags" Target="../tags/tag369.xml"/><Relationship Id="rId28" Type="http://schemas.openxmlformats.org/officeDocument/2006/relationships/tags" Target="../tags/tag374.xml"/><Relationship Id="rId36" Type="http://schemas.openxmlformats.org/officeDocument/2006/relationships/tags" Target="../tags/tag382.xml"/><Relationship Id="rId49" Type="http://schemas.openxmlformats.org/officeDocument/2006/relationships/tags" Target="../tags/tag395.xml"/><Relationship Id="rId57" Type="http://schemas.openxmlformats.org/officeDocument/2006/relationships/tags" Target="../tags/tag403.xml"/><Relationship Id="rId61" Type="http://schemas.openxmlformats.org/officeDocument/2006/relationships/slideLayout" Target="../slideLayouts/slideLayout48.xml"/><Relationship Id="rId10" Type="http://schemas.openxmlformats.org/officeDocument/2006/relationships/tags" Target="../tags/tag356.xml"/><Relationship Id="rId19" Type="http://schemas.openxmlformats.org/officeDocument/2006/relationships/tags" Target="../tags/tag365.xml"/><Relationship Id="rId31" Type="http://schemas.openxmlformats.org/officeDocument/2006/relationships/tags" Target="../tags/tag377.xml"/><Relationship Id="rId44" Type="http://schemas.openxmlformats.org/officeDocument/2006/relationships/tags" Target="../tags/tag390.xml"/><Relationship Id="rId52" Type="http://schemas.openxmlformats.org/officeDocument/2006/relationships/tags" Target="../tags/tag398.xml"/><Relationship Id="rId60" Type="http://schemas.openxmlformats.org/officeDocument/2006/relationships/tags" Target="../tags/tag406.xml"/><Relationship Id="rId65" Type="http://schemas.openxmlformats.org/officeDocument/2006/relationships/chart" Target="../charts/chart13.xml"/><Relationship Id="rId4" Type="http://schemas.openxmlformats.org/officeDocument/2006/relationships/tags" Target="../tags/tag350.xml"/><Relationship Id="rId9" Type="http://schemas.openxmlformats.org/officeDocument/2006/relationships/tags" Target="../tags/tag355.xml"/><Relationship Id="rId14" Type="http://schemas.openxmlformats.org/officeDocument/2006/relationships/tags" Target="../tags/tag360.xml"/><Relationship Id="rId22" Type="http://schemas.openxmlformats.org/officeDocument/2006/relationships/tags" Target="../tags/tag368.xml"/><Relationship Id="rId27" Type="http://schemas.openxmlformats.org/officeDocument/2006/relationships/tags" Target="../tags/tag373.xml"/><Relationship Id="rId30" Type="http://schemas.openxmlformats.org/officeDocument/2006/relationships/tags" Target="../tags/tag376.xml"/><Relationship Id="rId35" Type="http://schemas.openxmlformats.org/officeDocument/2006/relationships/tags" Target="../tags/tag381.xml"/><Relationship Id="rId43" Type="http://schemas.openxmlformats.org/officeDocument/2006/relationships/tags" Target="../tags/tag389.xml"/><Relationship Id="rId48" Type="http://schemas.openxmlformats.org/officeDocument/2006/relationships/tags" Target="../tags/tag394.xml"/><Relationship Id="rId56" Type="http://schemas.openxmlformats.org/officeDocument/2006/relationships/tags" Target="../tags/tag402.xml"/><Relationship Id="rId64" Type="http://schemas.openxmlformats.org/officeDocument/2006/relationships/image" Target="../media/image25.emf"/><Relationship Id="rId8" Type="http://schemas.openxmlformats.org/officeDocument/2006/relationships/tags" Target="../tags/tag354.xml"/><Relationship Id="rId51" Type="http://schemas.openxmlformats.org/officeDocument/2006/relationships/tags" Target="../tags/tag397.xml"/><Relationship Id="rId3" Type="http://schemas.openxmlformats.org/officeDocument/2006/relationships/tags" Target="../tags/tag349.xml"/><Relationship Id="rId12" Type="http://schemas.openxmlformats.org/officeDocument/2006/relationships/tags" Target="../tags/tag358.xml"/><Relationship Id="rId17" Type="http://schemas.openxmlformats.org/officeDocument/2006/relationships/tags" Target="../tags/tag363.xml"/><Relationship Id="rId25" Type="http://schemas.openxmlformats.org/officeDocument/2006/relationships/tags" Target="../tags/tag371.xml"/><Relationship Id="rId33" Type="http://schemas.openxmlformats.org/officeDocument/2006/relationships/tags" Target="../tags/tag379.xml"/><Relationship Id="rId38" Type="http://schemas.openxmlformats.org/officeDocument/2006/relationships/tags" Target="../tags/tag384.xml"/><Relationship Id="rId46" Type="http://schemas.openxmlformats.org/officeDocument/2006/relationships/tags" Target="../tags/tag392.xml"/><Relationship Id="rId59" Type="http://schemas.openxmlformats.org/officeDocument/2006/relationships/tags" Target="../tags/tag405.xml"/><Relationship Id="rId67" Type="http://schemas.openxmlformats.org/officeDocument/2006/relationships/chart" Target="../charts/chart15.xml"/><Relationship Id="rId20" Type="http://schemas.openxmlformats.org/officeDocument/2006/relationships/tags" Target="../tags/tag366.xml"/><Relationship Id="rId41" Type="http://schemas.openxmlformats.org/officeDocument/2006/relationships/tags" Target="../tags/tag387.xml"/><Relationship Id="rId54" Type="http://schemas.openxmlformats.org/officeDocument/2006/relationships/tags" Target="../tags/tag400.xml"/><Relationship Id="rId6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14.xml"/><Relationship Id="rId13" Type="http://schemas.openxmlformats.org/officeDocument/2006/relationships/chart" Target="../charts/chart16.xml"/><Relationship Id="rId3" Type="http://schemas.openxmlformats.org/officeDocument/2006/relationships/tags" Target="../tags/tag409.xml"/><Relationship Id="rId7" Type="http://schemas.openxmlformats.org/officeDocument/2006/relationships/tags" Target="../tags/tag413.xml"/><Relationship Id="rId12" Type="http://schemas.openxmlformats.org/officeDocument/2006/relationships/image" Target="../media/image25.emf"/><Relationship Id="rId2" Type="http://schemas.openxmlformats.org/officeDocument/2006/relationships/tags" Target="../tags/tag408.xml"/><Relationship Id="rId1" Type="http://schemas.openxmlformats.org/officeDocument/2006/relationships/tags" Target="../tags/tag407.xml"/><Relationship Id="rId6" Type="http://schemas.openxmlformats.org/officeDocument/2006/relationships/tags" Target="../tags/tag412.xml"/><Relationship Id="rId11" Type="http://schemas.openxmlformats.org/officeDocument/2006/relationships/oleObject" Target="../embeddings/oleObject131.bin"/><Relationship Id="rId5" Type="http://schemas.openxmlformats.org/officeDocument/2006/relationships/tags" Target="../tags/tag411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410.xml"/><Relationship Id="rId9" Type="http://schemas.openxmlformats.org/officeDocument/2006/relationships/slideLayout" Target="../slideLayouts/slideLayout4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7.emf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24.xml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21.bin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37.xml"/><Relationship Id="rId18" Type="http://schemas.openxmlformats.org/officeDocument/2006/relationships/tags" Target="../tags/tag142.xml"/><Relationship Id="rId26" Type="http://schemas.openxmlformats.org/officeDocument/2006/relationships/tags" Target="../tags/tag150.xml"/><Relationship Id="rId39" Type="http://schemas.openxmlformats.org/officeDocument/2006/relationships/tags" Target="../tags/tag163.xml"/><Relationship Id="rId21" Type="http://schemas.openxmlformats.org/officeDocument/2006/relationships/tags" Target="../tags/tag145.xml"/><Relationship Id="rId34" Type="http://schemas.openxmlformats.org/officeDocument/2006/relationships/tags" Target="../tags/tag158.xml"/><Relationship Id="rId42" Type="http://schemas.openxmlformats.org/officeDocument/2006/relationships/tags" Target="../tags/tag166.xml"/><Relationship Id="rId47" Type="http://schemas.openxmlformats.org/officeDocument/2006/relationships/tags" Target="../tags/tag171.xml"/><Relationship Id="rId50" Type="http://schemas.openxmlformats.org/officeDocument/2006/relationships/tags" Target="../tags/tag174.xml"/><Relationship Id="rId55" Type="http://schemas.openxmlformats.org/officeDocument/2006/relationships/tags" Target="../tags/tag179.xml"/><Relationship Id="rId63" Type="http://schemas.openxmlformats.org/officeDocument/2006/relationships/tags" Target="../tags/tag187.xml"/><Relationship Id="rId68" Type="http://schemas.openxmlformats.org/officeDocument/2006/relationships/tags" Target="../tags/tag192.xml"/><Relationship Id="rId7" Type="http://schemas.openxmlformats.org/officeDocument/2006/relationships/tags" Target="../tags/tag131.xml"/><Relationship Id="rId71" Type="http://schemas.openxmlformats.org/officeDocument/2006/relationships/oleObject" Target="../embeddings/oleObject122.bin"/><Relationship Id="rId2" Type="http://schemas.openxmlformats.org/officeDocument/2006/relationships/tags" Target="../tags/tag126.xml"/><Relationship Id="rId16" Type="http://schemas.openxmlformats.org/officeDocument/2006/relationships/tags" Target="../tags/tag140.xml"/><Relationship Id="rId29" Type="http://schemas.openxmlformats.org/officeDocument/2006/relationships/tags" Target="../tags/tag153.xml"/><Relationship Id="rId11" Type="http://schemas.openxmlformats.org/officeDocument/2006/relationships/tags" Target="../tags/tag135.xml"/><Relationship Id="rId24" Type="http://schemas.openxmlformats.org/officeDocument/2006/relationships/tags" Target="../tags/tag148.xml"/><Relationship Id="rId32" Type="http://schemas.openxmlformats.org/officeDocument/2006/relationships/tags" Target="../tags/tag156.xml"/><Relationship Id="rId37" Type="http://schemas.openxmlformats.org/officeDocument/2006/relationships/tags" Target="../tags/tag161.xml"/><Relationship Id="rId40" Type="http://schemas.openxmlformats.org/officeDocument/2006/relationships/tags" Target="../tags/tag164.xml"/><Relationship Id="rId45" Type="http://schemas.openxmlformats.org/officeDocument/2006/relationships/tags" Target="../tags/tag169.xml"/><Relationship Id="rId53" Type="http://schemas.openxmlformats.org/officeDocument/2006/relationships/tags" Target="../tags/tag177.xml"/><Relationship Id="rId58" Type="http://schemas.openxmlformats.org/officeDocument/2006/relationships/tags" Target="../tags/tag182.xml"/><Relationship Id="rId66" Type="http://schemas.openxmlformats.org/officeDocument/2006/relationships/tags" Target="../tags/tag190.xml"/><Relationship Id="rId74" Type="http://schemas.openxmlformats.org/officeDocument/2006/relationships/chart" Target="../charts/chart2.xml"/><Relationship Id="rId5" Type="http://schemas.openxmlformats.org/officeDocument/2006/relationships/tags" Target="../tags/tag129.xml"/><Relationship Id="rId15" Type="http://schemas.openxmlformats.org/officeDocument/2006/relationships/tags" Target="../tags/tag139.xml"/><Relationship Id="rId23" Type="http://schemas.openxmlformats.org/officeDocument/2006/relationships/tags" Target="../tags/tag147.xml"/><Relationship Id="rId28" Type="http://schemas.openxmlformats.org/officeDocument/2006/relationships/tags" Target="../tags/tag152.xml"/><Relationship Id="rId36" Type="http://schemas.openxmlformats.org/officeDocument/2006/relationships/tags" Target="../tags/tag160.xml"/><Relationship Id="rId49" Type="http://schemas.openxmlformats.org/officeDocument/2006/relationships/tags" Target="../tags/tag173.xml"/><Relationship Id="rId57" Type="http://schemas.openxmlformats.org/officeDocument/2006/relationships/tags" Target="../tags/tag181.xml"/><Relationship Id="rId61" Type="http://schemas.openxmlformats.org/officeDocument/2006/relationships/tags" Target="../tags/tag185.xml"/><Relationship Id="rId10" Type="http://schemas.openxmlformats.org/officeDocument/2006/relationships/tags" Target="../tags/tag134.xml"/><Relationship Id="rId19" Type="http://schemas.openxmlformats.org/officeDocument/2006/relationships/tags" Target="../tags/tag143.xml"/><Relationship Id="rId31" Type="http://schemas.openxmlformats.org/officeDocument/2006/relationships/tags" Target="../tags/tag155.xml"/><Relationship Id="rId44" Type="http://schemas.openxmlformats.org/officeDocument/2006/relationships/tags" Target="../tags/tag168.xml"/><Relationship Id="rId52" Type="http://schemas.openxmlformats.org/officeDocument/2006/relationships/tags" Target="../tags/tag176.xml"/><Relationship Id="rId60" Type="http://schemas.openxmlformats.org/officeDocument/2006/relationships/tags" Target="../tags/tag184.xml"/><Relationship Id="rId65" Type="http://schemas.openxmlformats.org/officeDocument/2006/relationships/tags" Target="../tags/tag189.xml"/><Relationship Id="rId73" Type="http://schemas.openxmlformats.org/officeDocument/2006/relationships/chart" Target="../charts/chart1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tags" Target="../tags/tag146.xml"/><Relationship Id="rId27" Type="http://schemas.openxmlformats.org/officeDocument/2006/relationships/tags" Target="../tags/tag151.xml"/><Relationship Id="rId30" Type="http://schemas.openxmlformats.org/officeDocument/2006/relationships/tags" Target="../tags/tag154.xml"/><Relationship Id="rId35" Type="http://schemas.openxmlformats.org/officeDocument/2006/relationships/tags" Target="../tags/tag159.xml"/><Relationship Id="rId43" Type="http://schemas.openxmlformats.org/officeDocument/2006/relationships/tags" Target="../tags/tag167.xml"/><Relationship Id="rId48" Type="http://schemas.openxmlformats.org/officeDocument/2006/relationships/tags" Target="../tags/tag172.xml"/><Relationship Id="rId56" Type="http://schemas.openxmlformats.org/officeDocument/2006/relationships/tags" Target="../tags/tag180.xml"/><Relationship Id="rId64" Type="http://schemas.openxmlformats.org/officeDocument/2006/relationships/tags" Target="../tags/tag188.xml"/><Relationship Id="rId69" Type="http://schemas.openxmlformats.org/officeDocument/2006/relationships/slideLayout" Target="../slideLayouts/slideLayout10.xml"/><Relationship Id="rId8" Type="http://schemas.openxmlformats.org/officeDocument/2006/relationships/tags" Target="../tags/tag132.xml"/><Relationship Id="rId51" Type="http://schemas.openxmlformats.org/officeDocument/2006/relationships/tags" Target="../tags/tag175.xml"/><Relationship Id="rId72" Type="http://schemas.openxmlformats.org/officeDocument/2006/relationships/image" Target="../media/image25.emf"/><Relationship Id="rId3" Type="http://schemas.openxmlformats.org/officeDocument/2006/relationships/tags" Target="../tags/tag127.xml"/><Relationship Id="rId12" Type="http://schemas.openxmlformats.org/officeDocument/2006/relationships/tags" Target="../tags/tag136.xml"/><Relationship Id="rId17" Type="http://schemas.openxmlformats.org/officeDocument/2006/relationships/tags" Target="../tags/tag141.xml"/><Relationship Id="rId25" Type="http://schemas.openxmlformats.org/officeDocument/2006/relationships/tags" Target="../tags/tag149.xml"/><Relationship Id="rId33" Type="http://schemas.openxmlformats.org/officeDocument/2006/relationships/tags" Target="../tags/tag157.xml"/><Relationship Id="rId38" Type="http://schemas.openxmlformats.org/officeDocument/2006/relationships/tags" Target="../tags/tag162.xml"/><Relationship Id="rId46" Type="http://schemas.openxmlformats.org/officeDocument/2006/relationships/tags" Target="../tags/tag170.xml"/><Relationship Id="rId59" Type="http://schemas.openxmlformats.org/officeDocument/2006/relationships/tags" Target="../tags/tag183.xml"/><Relationship Id="rId67" Type="http://schemas.openxmlformats.org/officeDocument/2006/relationships/tags" Target="../tags/tag191.xml"/><Relationship Id="rId20" Type="http://schemas.openxmlformats.org/officeDocument/2006/relationships/tags" Target="../tags/tag144.xml"/><Relationship Id="rId41" Type="http://schemas.openxmlformats.org/officeDocument/2006/relationships/tags" Target="../tags/tag165.xml"/><Relationship Id="rId54" Type="http://schemas.openxmlformats.org/officeDocument/2006/relationships/tags" Target="../tags/tag178.xml"/><Relationship Id="rId62" Type="http://schemas.openxmlformats.org/officeDocument/2006/relationships/tags" Target="../tags/tag186.xml"/><Relationship Id="rId70" Type="http://schemas.openxmlformats.org/officeDocument/2006/relationships/notesSlide" Target="../notesSlides/notesSlide3.xml"/><Relationship Id="rId1" Type="http://schemas.openxmlformats.org/officeDocument/2006/relationships/tags" Target="../tags/tag125.xml"/><Relationship Id="rId6" Type="http://schemas.openxmlformats.org/officeDocument/2006/relationships/tags" Target="../tags/tag13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13" Type="http://schemas.openxmlformats.org/officeDocument/2006/relationships/oleObject" Target="../embeddings/oleObject123.bin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197.xml"/><Relationship Id="rId15" Type="http://schemas.openxmlformats.org/officeDocument/2006/relationships/chart" Target="../charts/chart3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Relationship Id="rId14" Type="http://schemas.openxmlformats.org/officeDocument/2006/relationships/image" Target="../media/image2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18" Type="http://schemas.openxmlformats.org/officeDocument/2006/relationships/oleObject" Target="../embeddings/oleObject124.bin"/><Relationship Id="rId3" Type="http://schemas.openxmlformats.org/officeDocument/2006/relationships/tags" Target="../tags/tag205.xml"/><Relationship Id="rId21" Type="http://schemas.openxmlformats.org/officeDocument/2006/relationships/chart" Target="../charts/chart4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204.xml"/><Relationship Id="rId16" Type="http://schemas.openxmlformats.org/officeDocument/2006/relationships/slideLayout" Target="../slideLayouts/slideLayout48.xml"/><Relationship Id="rId20" Type="http://schemas.openxmlformats.org/officeDocument/2006/relationships/image" Target="../media/image29.png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24" Type="http://schemas.openxmlformats.org/officeDocument/2006/relationships/chart" Target="../charts/chart7.xml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23" Type="http://schemas.openxmlformats.org/officeDocument/2006/relationships/chart" Target="../charts/chart6.xml"/><Relationship Id="rId10" Type="http://schemas.openxmlformats.org/officeDocument/2006/relationships/tags" Target="../tags/tag212.xml"/><Relationship Id="rId19" Type="http://schemas.openxmlformats.org/officeDocument/2006/relationships/image" Target="../media/image25.emf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Relationship Id="rId22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slideLayout" Target="../slideLayouts/slideLayout23.xml"/><Relationship Id="rId18" Type="http://schemas.openxmlformats.org/officeDocument/2006/relationships/image" Target="../media/image30.emf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tags" Target="../tags/tag229.xml"/><Relationship Id="rId17" Type="http://schemas.openxmlformats.org/officeDocument/2006/relationships/chart" Target="../charts/chart8.xml"/><Relationship Id="rId2" Type="http://schemas.openxmlformats.org/officeDocument/2006/relationships/tags" Target="../tags/tag219.xml"/><Relationship Id="rId16" Type="http://schemas.openxmlformats.org/officeDocument/2006/relationships/image" Target="../media/image25.emf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tags" Target="../tags/tag228.xml"/><Relationship Id="rId5" Type="http://schemas.openxmlformats.org/officeDocument/2006/relationships/tags" Target="../tags/tag222.xml"/><Relationship Id="rId15" Type="http://schemas.openxmlformats.org/officeDocument/2006/relationships/oleObject" Target="../embeddings/oleObject125.bin"/><Relationship Id="rId10" Type="http://schemas.openxmlformats.org/officeDocument/2006/relationships/tags" Target="../tags/tag227.xml"/><Relationship Id="rId4" Type="http://schemas.openxmlformats.org/officeDocument/2006/relationships/tags" Target="../tags/tag221.xml"/><Relationship Id="rId9" Type="http://schemas.openxmlformats.org/officeDocument/2006/relationships/tags" Target="../tags/tag226.xml"/><Relationship Id="rId1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242.xml"/><Relationship Id="rId18" Type="http://schemas.openxmlformats.org/officeDocument/2006/relationships/tags" Target="../tags/tag247.xml"/><Relationship Id="rId26" Type="http://schemas.openxmlformats.org/officeDocument/2006/relationships/tags" Target="../tags/tag255.xml"/><Relationship Id="rId39" Type="http://schemas.openxmlformats.org/officeDocument/2006/relationships/tags" Target="../tags/tag268.xml"/><Relationship Id="rId21" Type="http://schemas.openxmlformats.org/officeDocument/2006/relationships/tags" Target="../tags/tag250.xml"/><Relationship Id="rId34" Type="http://schemas.openxmlformats.org/officeDocument/2006/relationships/tags" Target="../tags/tag263.xml"/><Relationship Id="rId42" Type="http://schemas.openxmlformats.org/officeDocument/2006/relationships/tags" Target="../tags/tag271.xml"/><Relationship Id="rId47" Type="http://schemas.openxmlformats.org/officeDocument/2006/relationships/tags" Target="../tags/tag276.xml"/><Relationship Id="rId50" Type="http://schemas.openxmlformats.org/officeDocument/2006/relationships/oleObject" Target="../embeddings/oleObject126.bin"/><Relationship Id="rId55" Type="http://schemas.openxmlformats.org/officeDocument/2006/relationships/image" Target="../media/image33.emf"/><Relationship Id="rId7" Type="http://schemas.openxmlformats.org/officeDocument/2006/relationships/tags" Target="../tags/tag236.xml"/><Relationship Id="rId12" Type="http://schemas.openxmlformats.org/officeDocument/2006/relationships/tags" Target="../tags/tag241.xml"/><Relationship Id="rId17" Type="http://schemas.openxmlformats.org/officeDocument/2006/relationships/tags" Target="../tags/tag246.xml"/><Relationship Id="rId25" Type="http://schemas.openxmlformats.org/officeDocument/2006/relationships/tags" Target="../tags/tag254.xml"/><Relationship Id="rId33" Type="http://schemas.openxmlformats.org/officeDocument/2006/relationships/tags" Target="../tags/tag262.xml"/><Relationship Id="rId38" Type="http://schemas.openxmlformats.org/officeDocument/2006/relationships/tags" Target="../tags/tag267.xml"/><Relationship Id="rId46" Type="http://schemas.openxmlformats.org/officeDocument/2006/relationships/tags" Target="../tags/tag275.xml"/><Relationship Id="rId2" Type="http://schemas.openxmlformats.org/officeDocument/2006/relationships/tags" Target="../tags/tag231.xml"/><Relationship Id="rId16" Type="http://schemas.openxmlformats.org/officeDocument/2006/relationships/tags" Target="../tags/tag245.xml"/><Relationship Id="rId20" Type="http://schemas.openxmlformats.org/officeDocument/2006/relationships/tags" Target="../tags/tag249.xml"/><Relationship Id="rId29" Type="http://schemas.openxmlformats.org/officeDocument/2006/relationships/tags" Target="../tags/tag258.xml"/><Relationship Id="rId41" Type="http://schemas.openxmlformats.org/officeDocument/2006/relationships/tags" Target="../tags/tag270.xml"/><Relationship Id="rId54" Type="http://schemas.openxmlformats.org/officeDocument/2006/relationships/image" Target="../media/image32.emf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tags" Target="../tags/tag240.xml"/><Relationship Id="rId24" Type="http://schemas.openxmlformats.org/officeDocument/2006/relationships/tags" Target="../tags/tag253.xml"/><Relationship Id="rId32" Type="http://schemas.openxmlformats.org/officeDocument/2006/relationships/tags" Target="../tags/tag261.xml"/><Relationship Id="rId37" Type="http://schemas.openxmlformats.org/officeDocument/2006/relationships/tags" Target="../tags/tag266.xml"/><Relationship Id="rId40" Type="http://schemas.openxmlformats.org/officeDocument/2006/relationships/tags" Target="../tags/tag269.xml"/><Relationship Id="rId45" Type="http://schemas.openxmlformats.org/officeDocument/2006/relationships/tags" Target="../tags/tag274.xml"/><Relationship Id="rId53" Type="http://schemas.openxmlformats.org/officeDocument/2006/relationships/image" Target="../media/image31.emf"/><Relationship Id="rId5" Type="http://schemas.openxmlformats.org/officeDocument/2006/relationships/tags" Target="../tags/tag234.xml"/><Relationship Id="rId15" Type="http://schemas.openxmlformats.org/officeDocument/2006/relationships/tags" Target="../tags/tag244.xml"/><Relationship Id="rId23" Type="http://schemas.openxmlformats.org/officeDocument/2006/relationships/tags" Target="../tags/tag252.xml"/><Relationship Id="rId28" Type="http://schemas.openxmlformats.org/officeDocument/2006/relationships/tags" Target="../tags/tag257.xml"/><Relationship Id="rId36" Type="http://schemas.openxmlformats.org/officeDocument/2006/relationships/tags" Target="../tags/tag265.xml"/><Relationship Id="rId49" Type="http://schemas.openxmlformats.org/officeDocument/2006/relationships/notesSlide" Target="../notesSlides/notesSlide7.xml"/><Relationship Id="rId10" Type="http://schemas.openxmlformats.org/officeDocument/2006/relationships/tags" Target="../tags/tag239.xml"/><Relationship Id="rId19" Type="http://schemas.openxmlformats.org/officeDocument/2006/relationships/tags" Target="../tags/tag248.xml"/><Relationship Id="rId31" Type="http://schemas.openxmlformats.org/officeDocument/2006/relationships/tags" Target="../tags/tag260.xml"/><Relationship Id="rId44" Type="http://schemas.openxmlformats.org/officeDocument/2006/relationships/tags" Target="../tags/tag273.xml"/><Relationship Id="rId52" Type="http://schemas.openxmlformats.org/officeDocument/2006/relationships/chart" Target="../charts/chart9.xml"/><Relationship Id="rId4" Type="http://schemas.openxmlformats.org/officeDocument/2006/relationships/tags" Target="../tags/tag233.xml"/><Relationship Id="rId9" Type="http://schemas.openxmlformats.org/officeDocument/2006/relationships/tags" Target="../tags/tag238.xml"/><Relationship Id="rId14" Type="http://schemas.openxmlformats.org/officeDocument/2006/relationships/tags" Target="../tags/tag243.xml"/><Relationship Id="rId22" Type="http://schemas.openxmlformats.org/officeDocument/2006/relationships/tags" Target="../tags/tag251.xml"/><Relationship Id="rId27" Type="http://schemas.openxmlformats.org/officeDocument/2006/relationships/tags" Target="../tags/tag256.xml"/><Relationship Id="rId30" Type="http://schemas.openxmlformats.org/officeDocument/2006/relationships/tags" Target="../tags/tag259.xml"/><Relationship Id="rId35" Type="http://schemas.openxmlformats.org/officeDocument/2006/relationships/tags" Target="../tags/tag264.xml"/><Relationship Id="rId43" Type="http://schemas.openxmlformats.org/officeDocument/2006/relationships/tags" Target="../tags/tag272.xml"/><Relationship Id="rId48" Type="http://schemas.openxmlformats.org/officeDocument/2006/relationships/slideLayout" Target="../slideLayouts/slideLayout48.xml"/><Relationship Id="rId8" Type="http://schemas.openxmlformats.org/officeDocument/2006/relationships/tags" Target="../tags/tag237.xml"/><Relationship Id="rId51" Type="http://schemas.openxmlformats.org/officeDocument/2006/relationships/image" Target="../media/image25.emf"/><Relationship Id="rId3" Type="http://schemas.openxmlformats.org/officeDocument/2006/relationships/tags" Target="../tags/tag23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13" Type="http://schemas.openxmlformats.org/officeDocument/2006/relationships/tags" Target="../tags/tag289.xml"/><Relationship Id="rId18" Type="http://schemas.openxmlformats.org/officeDocument/2006/relationships/tags" Target="../tags/tag294.xml"/><Relationship Id="rId26" Type="http://schemas.openxmlformats.org/officeDocument/2006/relationships/oleObject" Target="../embeddings/oleObject127.bin"/><Relationship Id="rId3" Type="http://schemas.openxmlformats.org/officeDocument/2006/relationships/tags" Target="../tags/tag279.xml"/><Relationship Id="rId21" Type="http://schemas.openxmlformats.org/officeDocument/2006/relationships/tags" Target="../tags/tag297.xml"/><Relationship Id="rId7" Type="http://schemas.openxmlformats.org/officeDocument/2006/relationships/tags" Target="../tags/tag283.xml"/><Relationship Id="rId12" Type="http://schemas.openxmlformats.org/officeDocument/2006/relationships/tags" Target="../tags/tag288.xml"/><Relationship Id="rId17" Type="http://schemas.openxmlformats.org/officeDocument/2006/relationships/tags" Target="../tags/tag293.xml"/><Relationship Id="rId25" Type="http://schemas.openxmlformats.org/officeDocument/2006/relationships/notesSlide" Target="../notesSlides/notesSlide8.xml"/><Relationship Id="rId33" Type="http://schemas.openxmlformats.org/officeDocument/2006/relationships/image" Target="../media/image37.emf"/><Relationship Id="rId2" Type="http://schemas.openxmlformats.org/officeDocument/2006/relationships/tags" Target="../tags/tag278.xml"/><Relationship Id="rId16" Type="http://schemas.openxmlformats.org/officeDocument/2006/relationships/tags" Target="../tags/tag292.xml"/><Relationship Id="rId20" Type="http://schemas.openxmlformats.org/officeDocument/2006/relationships/tags" Target="../tags/tag296.xml"/><Relationship Id="rId29" Type="http://schemas.openxmlformats.org/officeDocument/2006/relationships/image" Target="../media/image34.emf"/><Relationship Id="rId1" Type="http://schemas.openxmlformats.org/officeDocument/2006/relationships/tags" Target="../tags/tag277.xml"/><Relationship Id="rId6" Type="http://schemas.openxmlformats.org/officeDocument/2006/relationships/tags" Target="../tags/tag282.xml"/><Relationship Id="rId11" Type="http://schemas.openxmlformats.org/officeDocument/2006/relationships/tags" Target="../tags/tag287.xml"/><Relationship Id="rId24" Type="http://schemas.openxmlformats.org/officeDocument/2006/relationships/slideLayout" Target="../slideLayouts/slideLayout48.xml"/><Relationship Id="rId32" Type="http://schemas.openxmlformats.org/officeDocument/2006/relationships/image" Target="../media/image36.emf"/><Relationship Id="rId5" Type="http://schemas.openxmlformats.org/officeDocument/2006/relationships/tags" Target="../tags/tag281.xml"/><Relationship Id="rId15" Type="http://schemas.openxmlformats.org/officeDocument/2006/relationships/tags" Target="../tags/tag291.xml"/><Relationship Id="rId23" Type="http://schemas.openxmlformats.org/officeDocument/2006/relationships/tags" Target="../tags/tag299.xml"/><Relationship Id="rId28" Type="http://schemas.openxmlformats.org/officeDocument/2006/relationships/chart" Target="../charts/chart10.xml"/><Relationship Id="rId10" Type="http://schemas.openxmlformats.org/officeDocument/2006/relationships/tags" Target="../tags/tag286.xml"/><Relationship Id="rId19" Type="http://schemas.openxmlformats.org/officeDocument/2006/relationships/tags" Target="../tags/tag295.xml"/><Relationship Id="rId31" Type="http://schemas.openxmlformats.org/officeDocument/2006/relationships/image" Target="../media/image35.emf"/><Relationship Id="rId4" Type="http://schemas.openxmlformats.org/officeDocument/2006/relationships/tags" Target="../tags/tag280.xml"/><Relationship Id="rId9" Type="http://schemas.openxmlformats.org/officeDocument/2006/relationships/tags" Target="../tags/tag285.xml"/><Relationship Id="rId14" Type="http://schemas.openxmlformats.org/officeDocument/2006/relationships/tags" Target="../tags/tag290.xml"/><Relationship Id="rId22" Type="http://schemas.openxmlformats.org/officeDocument/2006/relationships/tags" Target="../tags/tag298.xml"/><Relationship Id="rId27" Type="http://schemas.openxmlformats.org/officeDocument/2006/relationships/image" Target="../media/image25.emf"/><Relationship Id="rId30" Type="http://schemas.openxmlformats.org/officeDocument/2006/relationships/image" Target="../media/image30.emf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312.xml"/><Relationship Id="rId18" Type="http://schemas.openxmlformats.org/officeDocument/2006/relationships/tags" Target="../tags/tag317.xml"/><Relationship Id="rId26" Type="http://schemas.openxmlformats.org/officeDocument/2006/relationships/tags" Target="../tags/tag325.xml"/><Relationship Id="rId39" Type="http://schemas.openxmlformats.org/officeDocument/2006/relationships/notesSlide" Target="../notesSlides/notesSlide9.xml"/><Relationship Id="rId3" Type="http://schemas.openxmlformats.org/officeDocument/2006/relationships/tags" Target="../tags/tag302.xml"/><Relationship Id="rId21" Type="http://schemas.openxmlformats.org/officeDocument/2006/relationships/tags" Target="../tags/tag320.xml"/><Relationship Id="rId34" Type="http://schemas.openxmlformats.org/officeDocument/2006/relationships/tags" Target="../tags/tag333.xml"/><Relationship Id="rId42" Type="http://schemas.openxmlformats.org/officeDocument/2006/relationships/chart" Target="../charts/chart11.xml"/><Relationship Id="rId47" Type="http://schemas.openxmlformats.org/officeDocument/2006/relationships/image" Target="../media/image42.svg"/><Relationship Id="rId7" Type="http://schemas.openxmlformats.org/officeDocument/2006/relationships/tags" Target="../tags/tag306.xml"/><Relationship Id="rId12" Type="http://schemas.openxmlformats.org/officeDocument/2006/relationships/tags" Target="../tags/tag311.xml"/><Relationship Id="rId17" Type="http://schemas.openxmlformats.org/officeDocument/2006/relationships/tags" Target="../tags/tag316.xml"/><Relationship Id="rId25" Type="http://schemas.openxmlformats.org/officeDocument/2006/relationships/tags" Target="../tags/tag324.xml"/><Relationship Id="rId33" Type="http://schemas.openxmlformats.org/officeDocument/2006/relationships/tags" Target="../tags/tag332.xml"/><Relationship Id="rId38" Type="http://schemas.openxmlformats.org/officeDocument/2006/relationships/slideLayout" Target="../slideLayouts/slideLayout48.xml"/><Relationship Id="rId46" Type="http://schemas.openxmlformats.org/officeDocument/2006/relationships/image" Target="../media/image41.png"/><Relationship Id="rId2" Type="http://schemas.openxmlformats.org/officeDocument/2006/relationships/tags" Target="../tags/tag301.xml"/><Relationship Id="rId16" Type="http://schemas.openxmlformats.org/officeDocument/2006/relationships/tags" Target="../tags/tag315.xml"/><Relationship Id="rId20" Type="http://schemas.openxmlformats.org/officeDocument/2006/relationships/tags" Target="../tags/tag319.xml"/><Relationship Id="rId29" Type="http://schemas.openxmlformats.org/officeDocument/2006/relationships/tags" Target="../tags/tag328.xml"/><Relationship Id="rId41" Type="http://schemas.openxmlformats.org/officeDocument/2006/relationships/image" Target="../media/image25.emf"/><Relationship Id="rId1" Type="http://schemas.openxmlformats.org/officeDocument/2006/relationships/tags" Target="../tags/tag300.xml"/><Relationship Id="rId6" Type="http://schemas.openxmlformats.org/officeDocument/2006/relationships/tags" Target="../tags/tag305.xml"/><Relationship Id="rId11" Type="http://schemas.openxmlformats.org/officeDocument/2006/relationships/tags" Target="../tags/tag310.xml"/><Relationship Id="rId24" Type="http://schemas.openxmlformats.org/officeDocument/2006/relationships/tags" Target="../tags/tag323.xml"/><Relationship Id="rId32" Type="http://schemas.openxmlformats.org/officeDocument/2006/relationships/tags" Target="../tags/tag331.xml"/><Relationship Id="rId37" Type="http://schemas.openxmlformats.org/officeDocument/2006/relationships/tags" Target="../tags/tag336.xml"/><Relationship Id="rId40" Type="http://schemas.openxmlformats.org/officeDocument/2006/relationships/oleObject" Target="../embeddings/oleObject128.bin"/><Relationship Id="rId45" Type="http://schemas.openxmlformats.org/officeDocument/2006/relationships/image" Target="../media/image40.svg"/><Relationship Id="rId5" Type="http://schemas.openxmlformats.org/officeDocument/2006/relationships/tags" Target="../tags/tag304.xml"/><Relationship Id="rId15" Type="http://schemas.openxmlformats.org/officeDocument/2006/relationships/tags" Target="../tags/tag314.xml"/><Relationship Id="rId23" Type="http://schemas.openxmlformats.org/officeDocument/2006/relationships/tags" Target="../tags/tag322.xml"/><Relationship Id="rId28" Type="http://schemas.openxmlformats.org/officeDocument/2006/relationships/tags" Target="../tags/tag327.xml"/><Relationship Id="rId36" Type="http://schemas.openxmlformats.org/officeDocument/2006/relationships/tags" Target="../tags/tag335.xml"/><Relationship Id="rId49" Type="http://schemas.openxmlformats.org/officeDocument/2006/relationships/image" Target="../media/image43.emf"/><Relationship Id="rId10" Type="http://schemas.openxmlformats.org/officeDocument/2006/relationships/tags" Target="../tags/tag309.xml"/><Relationship Id="rId19" Type="http://schemas.openxmlformats.org/officeDocument/2006/relationships/tags" Target="../tags/tag318.xml"/><Relationship Id="rId31" Type="http://schemas.openxmlformats.org/officeDocument/2006/relationships/tags" Target="../tags/tag330.xml"/><Relationship Id="rId44" Type="http://schemas.openxmlformats.org/officeDocument/2006/relationships/image" Target="../media/image39.png"/><Relationship Id="rId4" Type="http://schemas.openxmlformats.org/officeDocument/2006/relationships/tags" Target="../tags/tag303.xml"/><Relationship Id="rId9" Type="http://schemas.openxmlformats.org/officeDocument/2006/relationships/tags" Target="../tags/tag308.xml"/><Relationship Id="rId14" Type="http://schemas.openxmlformats.org/officeDocument/2006/relationships/tags" Target="../tags/tag313.xml"/><Relationship Id="rId22" Type="http://schemas.openxmlformats.org/officeDocument/2006/relationships/tags" Target="../tags/tag321.xml"/><Relationship Id="rId27" Type="http://schemas.openxmlformats.org/officeDocument/2006/relationships/tags" Target="../tags/tag326.xml"/><Relationship Id="rId30" Type="http://schemas.openxmlformats.org/officeDocument/2006/relationships/tags" Target="../tags/tag329.xml"/><Relationship Id="rId35" Type="http://schemas.openxmlformats.org/officeDocument/2006/relationships/tags" Target="../tags/tag334.xml"/><Relationship Id="rId43" Type="http://schemas.openxmlformats.org/officeDocument/2006/relationships/image" Target="../media/image38.emf"/><Relationship Id="rId48" Type="http://schemas.openxmlformats.org/officeDocument/2006/relationships/image" Target="../media/image35.emf"/><Relationship Id="rId8" Type="http://schemas.openxmlformats.org/officeDocument/2006/relationships/tags" Target="../tags/tag30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FCBC6F-BA36-4627-A3BB-65AE8607AE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16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FCBC6F-BA36-4627-A3BB-65AE8607AE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03A078B-F0B9-42AE-AF15-2D67BFEB48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0001" y="4822763"/>
            <a:ext cx="4951470" cy="929108"/>
          </a:xfrm>
        </p:spPr>
        <p:txBody>
          <a:bodyPr vert="horz"/>
          <a:lstStyle/>
          <a:p>
            <a:r>
              <a:rPr lang="da-DK" sz="2400" dirty="0"/>
              <a:t>Analyse af behovet for en havneudvidelse</a:t>
            </a:r>
            <a:br>
              <a:rPr lang="da-DK" sz="2400" dirty="0"/>
            </a:br>
            <a:br>
              <a:rPr lang="da-DK" sz="2400" dirty="0"/>
            </a:br>
            <a:r>
              <a:rPr lang="da-DK" sz="1600" b="1" dirty="0"/>
              <a:t>Aarhus Havn</a:t>
            </a:r>
            <a:br>
              <a:rPr lang="da-DK" sz="1600" b="1" dirty="0"/>
            </a:br>
            <a:br>
              <a:rPr lang="da-DK" sz="1600" dirty="0"/>
            </a:br>
            <a:r>
              <a:rPr lang="da-DK" sz="900" dirty="0"/>
              <a:t>5. januar 2023</a:t>
            </a:r>
          </a:p>
        </p:txBody>
      </p:sp>
      <p:pic>
        <p:nvPicPr>
          <p:cNvPr id="16" name="Picture Placeholder 13">
            <a:extLst>
              <a:ext uri="{FF2B5EF4-FFF2-40B4-BE49-F238E27FC236}">
                <a16:creationId xmlns:a16="http://schemas.microsoft.com/office/drawing/2014/main" id="{6FA861CA-663B-48CB-A9F5-25EF98E931B9}"/>
              </a:ext>
            </a:extLst>
          </p:cNvPr>
          <p:cNvPicPr>
            <a:picLocks noGrp="1" noChangeAspect="1"/>
          </p:cNvPicPr>
          <p:nvPr>
            <p:ph type="pic" sz="quarter" idx="13"/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43" b="9243"/>
          <a:stretch/>
        </p:blipFill>
        <p:spPr>
          <a:xfrm>
            <a:off x="0" y="0"/>
            <a:ext cx="12193200" cy="6861600"/>
          </a:xfr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F2D0A5-0A5A-4A3D-B14B-1FB903B54ACD}"/>
              </a:ext>
            </a:extLst>
          </p:cNvPr>
          <p:cNvSpPr txBox="1"/>
          <p:nvPr/>
        </p:nvSpPr>
        <p:spPr>
          <a:xfrm>
            <a:off x="11058525" y="6572250"/>
            <a:ext cx="9715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>
                <a:solidFill>
                  <a:schemeClr val="bg1"/>
                </a:solidFill>
              </a:rPr>
              <a:t>Foto: Ritzau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E9ECC4-26EB-4E09-AA83-EE72444DA1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1491" y="5586198"/>
            <a:ext cx="1299210" cy="102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2476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B095BE-AC90-4557-998E-D6445BF99A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327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B095BE-AC90-4557-998E-D6445BF99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>
            <a:extLst>
              <a:ext uri="{FF2B5EF4-FFF2-40B4-BE49-F238E27FC236}">
                <a16:creationId xmlns:a16="http://schemas.microsoft.com/office/drawing/2014/main" id="{B7B1F968-551B-448B-BAD2-FA2E37301675}"/>
              </a:ext>
            </a:extLst>
          </p:cNvPr>
          <p:cNvSpPr/>
          <p:nvPr/>
        </p:nvSpPr>
        <p:spPr>
          <a:xfrm>
            <a:off x="7335672" y="1828800"/>
            <a:ext cx="4856328" cy="5029200"/>
          </a:xfrm>
          <a:prstGeom prst="rect">
            <a:avLst/>
          </a:prstGeom>
          <a:solidFill>
            <a:srgbClr val="C9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2ADF54-785E-4D59-8A81-9606406AF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Ro-Ro* kan være et fleksibel område til at understøtte fremtidig vækst</a:t>
            </a:r>
          </a:p>
        </p:txBody>
      </p:sp>
      <p:sp>
        <p:nvSpPr>
          <p:cNvPr id="59" name="Slide Number Placeholder 3">
            <a:extLst>
              <a:ext uri="{FF2B5EF4-FFF2-40B4-BE49-F238E27FC236}">
                <a16:creationId xmlns:a16="http://schemas.microsoft.com/office/drawing/2014/main" id="{B6946161-B343-49F1-91E3-DEEB50B20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10</a:t>
            </a:fld>
            <a:endParaRPr lang="da-DK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00DD0A2-A274-4187-B645-6902E6755368}"/>
              </a:ext>
            </a:extLst>
          </p:cNvPr>
          <p:cNvSpPr txBox="1"/>
          <p:nvPr/>
        </p:nvSpPr>
        <p:spPr>
          <a:xfrm>
            <a:off x="9014377" y="2658140"/>
            <a:ext cx="239354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Plads begrænser den fremtidige vækst, hvor et nyt areal vil give plads til en ny operatø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01448B8-AEC6-4C3F-A0F4-554D6D132BD2}"/>
              </a:ext>
            </a:extLst>
          </p:cNvPr>
          <p:cNvSpPr txBox="1"/>
          <p:nvPr/>
        </p:nvSpPr>
        <p:spPr>
          <a:xfrm>
            <a:off x="9014377" y="4667269"/>
            <a:ext cx="229553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Området kan anvendes fleksibelt til andre forretningsområder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58413D2E-C829-488E-A0E5-887222117A9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882536"/>
              </p:ext>
            </p:extLst>
          </p:nvPr>
        </p:nvGraphicFramePr>
        <p:xfrm>
          <a:off x="388938" y="2401888"/>
          <a:ext cx="6581775" cy="3571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18120A3B-69D5-4D32-8268-C61A83085152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263650" y="6156325"/>
            <a:ext cx="212725" cy="0"/>
          </a:xfrm>
          <a:prstGeom prst="line">
            <a:avLst/>
          </a:prstGeom>
          <a:ln w="381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4DAD51AA-B789-46E3-9E11-F11A5ECAFA56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962275" y="6419850"/>
            <a:ext cx="152400" cy="0"/>
          </a:xfrm>
          <a:prstGeom prst="line">
            <a:avLst/>
          </a:prstGeom>
          <a:ln w="38100" cap="rnd" cmpd="sng" algn="ctr">
            <a:solidFill>
              <a:schemeClr val="accent4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7FB1285F-2489-48E8-B4AD-B14A2F9331EF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962275" y="6156325"/>
            <a:ext cx="152400" cy="0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2BB8E73-C2E0-4E64-BC5A-AF6BAEA9C49F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1293813" y="6419850"/>
            <a:ext cx="152400" cy="0"/>
          </a:xfrm>
          <a:prstGeom prst="line">
            <a:avLst/>
          </a:prstGeom>
          <a:ln w="38100" cap="rnd" cmpd="sng" algn="ctr">
            <a:solidFill>
              <a:srgbClr val="009DF0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7816C194-7FA3-4FDD-A6CD-CB0699A46C1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46225" y="6057900"/>
            <a:ext cx="1139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143DAA-A176-44F6-AF19-572BF19491E6}" type="datetime'A''ar''''''''hus'''''' ''H''''''''a''''''''''''v''''''''''n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arhus Havn</a:t>
            </a:fld>
            <a:endParaRPr lang="da-DK" sz="1400" noProof="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B7C52FE3-C45B-4EE5-83C3-DE7020E1035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214688" y="6057900"/>
            <a:ext cx="903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EA8AA79-11F8-4A82-A1FE-7866A5EB1510}" type="datetime'''H''''øj'''''''' ''''''v''''''''æ''''''''ks''''''''t''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øj vækst</a:t>
            </a:fld>
            <a:endParaRPr lang="da-DK" sz="1400" noProof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829EAC34-BEFD-4575-8A6C-14EB1DE0CCF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546225" y="6321425"/>
            <a:ext cx="1265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7B590F-7374-49B2-B168-DB19BDF00D08}" type="datetime'''''Basis'''''''''''''''''''' ''''''''''s''''c''en''ari''e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sis scenarie</a:t>
            </a:fld>
            <a:endParaRPr lang="da-DK" sz="1400" noProof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BF77F548-3886-40EE-9F2D-1027E63436B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14688" y="6321425"/>
            <a:ext cx="908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B673BF3-DBEB-4E2E-9356-69E45BFC3B64}" type="datetime'''L''''''''''av'''''''' ''v''''''''æ''''''k''s''''''''''''''t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av vækst</a:t>
            </a:fld>
            <a:endParaRPr lang="da-DK" sz="1400" noProof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C63C08-2F38-4A87-B680-DCCBA3AC9FE4}"/>
              </a:ext>
            </a:extLst>
          </p:cNvPr>
          <p:cNvSpPr txBox="1"/>
          <p:nvPr/>
        </p:nvSpPr>
        <p:spPr>
          <a:xfrm>
            <a:off x="6381649" y="3109448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accent3"/>
                </a:solidFill>
              </a:rPr>
              <a:t>3,1%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F3907B7-77E1-44D4-8A07-468066FD1515}"/>
              </a:ext>
            </a:extLst>
          </p:cNvPr>
          <p:cNvSpPr txBox="1"/>
          <p:nvPr/>
        </p:nvSpPr>
        <p:spPr>
          <a:xfrm>
            <a:off x="6381649" y="4168879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tx2"/>
                </a:solidFill>
              </a:rPr>
              <a:t>1,2%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965FE980-C541-47C2-9F17-C26205DE8978}"/>
              </a:ext>
            </a:extLst>
          </p:cNvPr>
          <p:cNvSpPr txBox="1"/>
          <p:nvPr/>
        </p:nvSpPr>
        <p:spPr>
          <a:xfrm>
            <a:off x="6332759" y="4774702"/>
            <a:ext cx="72455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accent4"/>
                </a:solidFill>
              </a:rPr>
              <a:t>-1,0%</a:t>
            </a: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881DF09C-C4C4-4E8B-8088-D87DDFC7175E}"/>
              </a:ext>
            </a:extLst>
          </p:cNvPr>
          <p:cNvGrpSpPr/>
          <p:nvPr/>
        </p:nvGrpSpPr>
        <p:grpSpPr>
          <a:xfrm>
            <a:off x="11092255" y="127163"/>
            <a:ext cx="936000" cy="936000"/>
            <a:chOff x="4828571" y="1727870"/>
            <a:chExt cx="699460" cy="690810"/>
          </a:xfrm>
        </p:grpSpPr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6A9DFCF7-3AF6-4AD6-8243-515735C282BC}"/>
                </a:ext>
              </a:extLst>
            </p:cNvPr>
            <p:cNvGrpSpPr/>
            <p:nvPr/>
          </p:nvGrpSpPr>
          <p:grpSpPr>
            <a:xfrm>
              <a:off x="4828571" y="1727870"/>
              <a:ext cx="699460" cy="690810"/>
              <a:chOff x="353689" y="1946156"/>
              <a:chExt cx="510311" cy="504000"/>
            </a:xfrm>
          </p:grpSpPr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DEC5B03A-0F9C-4E8C-847A-8C6E84D51C53}"/>
                  </a:ext>
                </a:extLst>
              </p:cNvPr>
              <p:cNvSpPr/>
              <p:nvPr/>
            </p:nvSpPr>
            <p:spPr>
              <a:xfrm>
                <a:off x="353689" y="1949001"/>
                <a:ext cx="468000" cy="468000"/>
              </a:xfrm>
              <a:prstGeom prst="ellips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endParaRPr lang="en-GB" sz="2000" noProof="0" err="1"/>
              </a:p>
            </p:txBody>
          </p:sp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48AE4EB5-94AC-436B-864C-8CE0E599D97C}"/>
                  </a:ext>
                </a:extLst>
              </p:cNvPr>
              <p:cNvSpPr/>
              <p:nvPr/>
            </p:nvSpPr>
            <p:spPr>
              <a:xfrm>
                <a:off x="360000" y="1946156"/>
                <a:ext cx="504000" cy="504000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FFABD4F9-01DC-42B6-96D5-8054A80867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rcRect/>
            <a:stretch/>
          </p:blipFill>
          <p:spPr>
            <a:xfrm>
              <a:off x="4910329" y="1831609"/>
              <a:ext cx="470425" cy="470425"/>
            </a:xfrm>
            <a:prstGeom prst="rect">
              <a:avLst/>
            </a:prstGeom>
          </p:spPr>
        </p:pic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id="{92BC731C-EA43-4C62-A2BF-4E75EE56EB3A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/>
          <a:stretch/>
        </p:blipFill>
        <p:spPr>
          <a:xfrm>
            <a:off x="7870972" y="4530936"/>
            <a:ext cx="918995" cy="918995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FD785A4B-F6A6-4ED7-9175-A193C747FB46}"/>
              </a:ext>
            </a:extLst>
          </p:cNvPr>
          <p:cNvGrpSpPr>
            <a:grpSpLocks/>
          </p:cNvGrpSpPr>
          <p:nvPr/>
        </p:nvGrpSpPr>
        <p:grpSpPr>
          <a:xfrm>
            <a:off x="7862469" y="2590329"/>
            <a:ext cx="936000" cy="936000"/>
            <a:chOff x="0" y="0"/>
            <a:chExt cx="914400" cy="914400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357F1B36-0F10-4C5E-8AB2-ED6BEE2641DD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7C3E64B3-E624-4D01-BECB-085A96D9B5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rcRect/>
            <a:stretch/>
          </p:blipFill>
          <p:spPr>
            <a:xfrm>
              <a:off x="93507" y="93508"/>
              <a:ext cx="727385" cy="727385"/>
            </a:xfrm>
            <a:prstGeom prst="rect">
              <a:avLst/>
            </a:prstGeom>
          </p:spPr>
        </p:pic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55757CB5-78F1-4D01-B729-46F5A718F931}"/>
              </a:ext>
            </a:extLst>
          </p:cNvPr>
          <p:cNvSpPr txBox="1"/>
          <p:nvPr/>
        </p:nvSpPr>
        <p:spPr>
          <a:xfrm>
            <a:off x="360000" y="2013045"/>
            <a:ext cx="14807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Tusind ton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60D4200-C455-41C8-8565-8C25918A4127}"/>
              </a:ext>
            </a:extLst>
          </p:cNvPr>
          <p:cNvSpPr txBox="1"/>
          <p:nvPr/>
        </p:nvSpPr>
        <p:spPr>
          <a:xfrm>
            <a:off x="895739" y="6543258"/>
            <a:ext cx="39126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/>
              <a:t>*Ro-Ro: Skibe med rullende last</a:t>
            </a:r>
          </a:p>
        </p:txBody>
      </p:sp>
    </p:spTree>
    <p:extLst>
      <p:ext uri="{BB962C8B-B14F-4D97-AF65-F5344CB8AC3E}">
        <p14:creationId xmlns:p14="http://schemas.microsoft.com/office/powerpoint/2010/main" val="4852873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71" name="Object 1270" hidden="1">
            <a:extLst>
              <a:ext uri="{FF2B5EF4-FFF2-40B4-BE49-F238E27FC236}">
                <a16:creationId xmlns:a16="http://schemas.microsoft.com/office/drawing/2014/main" id="{177D35A7-C771-40F6-8065-58BCBF9608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4987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3" imgW="592" imgH="595" progId="TCLayout.ActiveDocument.1">
                  <p:embed/>
                </p:oleObj>
              </mc:Choice>
              <mc:Fallback>
                <p:oleObj name="think-cell Slide" r:id="rId63" imgW="592" imgH="595" progId="TCLayout.ActiveDocument.1">
                  <p:embed/>
                  <p:pic>
                    <p:nvPicPr>
                      <p:cNvPr id="1271" name="Object 1270" hidden="1">
                        <a:extLst>
                          <a:ext uri="{FF2B5EF4-FFF2-40B4-BE49-F238E27FC236}">
                            <a16:creationId xmlns:a16="http://schemas.microsoft.com/office/drawing/2014/main" id="{177D35A7-C771-40F6-8065-58BCBF960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864E29C-A65E-44C0-AA99-6083A7A7B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Der vil være et behov for en udvidelse af Aarhus Havn i alle scenarier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96EB5B7-2769-47F7-9C00-8A15F9A6FBF3}"/>
              </a:ext>
            </a:extLst>
          </p:cNvPr>
          <p:cNvSpPr/>
          <p:nvPr/>
        </p:nvSpPr>
        <p:spPr>
          <a:xfrm>
            <a:off x="842858" y="2205038"/>
            <a:ext cx="613152" cy="1260000"/>
          </a:xfrm>
          <a:prstGeom prst="rect">
            <a:avLst/>
          </a:prstGeom>
          <a:solidFill>
            <a:srgbClr val="C8E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ct val="0"/>
              </a:spcAft>
            </a:pPr>
            <a:r>
              <a:rPr lang="da-DK" sz="1400">
                <a:solidFill>
                  <a:schemeClr val="tx1"/>
                </a:solidFill>
                <a:latin typeface="Verdana"/>
              </a:rPr>
              <a:t>Basi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59C07377-2278-4850-B8A7-2FEAA7888B0D}"/>
              </a:ext>
            </a:extLst>
          </p:cNvPr>
          <p:cNvSpPr/>
          <p:nvPr/>
        </p:nvSpPr>
        <p:spPr>
          <a:xfrm>
            <a:off x="842858" y="3534806"/>
            <a:ext cx="613152" cy="1260000"/>
          </a:xfrm>
          <a:prstGeom prst="rect">
            <a:avLst/>
          </a:prstGeom>
          <a:solidFill>
            <a:srgbClr val="C8E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  <a:spcAft>
                <a:spcPct val="0"/>
              </a:spcAft>
            </a:pPr>
            <a:r>
              <a:rPr lang="da-DK" sz="1400">
                <a:solidFill>
                  <a:schemeClr val="tx1"/>
                </a:solidFill>
                <a:latin typeface="Verdana"/>
              </a:rPr>
              <a:t>Høj vækst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CFAC371-9F99-4407-BA18-36531EA7F860}"/>
              </a:ext>
            </a:extLst>
          </p:cNvPr>
          <p:cNvSpPr/>
          <p:nvPr/>
        </p:nvSpPr>
        <p:spPr>
          <a:xfrm>
            <a:off x="367744" y="2205037"/>
            <a:ext cx="406991" cy="3919537"/>
          </a:xfrm>
          <a:prstGeom prst="rect">
            <a:avLst/>
          </a:prstGeom>
          <a:solidFill>
            <a:srgbClr val="009DF0"/>
          </a:solidFill>
          <a:ln>
            <a:solidFill>
              <a:srgbClr val="009D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 defTabSz="457098" fontAlgn="base">
              <a:spcBef>
                <a:spcPct val="0"/>
              </a:spcBef>
              <a:spcAft>
                <a:spcPct val="0"/>
              </a:spcAft>
            </a:pPr>
            <a:r>
              <a:rPr lang="da-DK" sz="1400">
                <a:solidFill>
                  <a:srgbClr val="FFFFFF"/>
                </a:solidFill>
                <a:latin typeface="Verdana"/>
              </a:rPr>
              <a:t>Scenarier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590D4843-9797-4E6E-8354-D2A91C06E303}"/>
              </a:ext>
            </a:extLst>
          </p:cNvPr>
          <p:cNvSpPr/>
          <p:nvPr/>
        </p:nvSpPr>
        <p:spPr>
          <a:xfrm>
            <a:off x="842858" y="4864574"/>
            <a:ext cx="613152" cy="1260000"/>
          </a:xfrm>
          <a:prstGeom prst="rect">
            <a:avLst/>
          </a:prstGeom>
          <a:solidFill>
            <a:srgbClr val="C8EC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457098" fontAlgn="base">
              <a:spcBef>
                <a:spcPct val="0"/>
              </a:spcBef>
            </a:pPr>
            <a:r>
              <a:rPr lang="da-DK" sz="1400">
                <a:solidFill>
                  <a:schemeClr val="tx1"/>
                </a:solidFill>
                <a:latin typeface="Verdana"/>
              </a:rPr>
              <a:t>Lav vækst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2A3A0B92-7B0D-454A-A048-F566089FA17C}"/>
              </a:ext>
            </a:extLst>
          </p:cNvPr>
          <p:cNvCxnSpPr>
            <a:cxnSpLocks/>
          </p:cNvCxnSpPr>
          <p:nvPr/>
        </p:nvCxnSpPr>
        <p:spPr>
          <a:xfrm>
            <a:off x="842858" y="4826794"/>
            <a:ext cx="8208000" cy="0"/>
          </a:xfrm>
          <a:prstGeom prst="line">
            <a:avLst/>
          </a:prstGeom>
          <a:ln w="9525">
            <a:solidFill>
              <a:schemeClr val="accent6">
                <a:lumMod val="9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6" name="Straight Connector 1275">
            <a:extLst>
              <a:ext uri="{FF2B5EF4-FFF2-40B4-BE49-F238E27FC236}">
                <a16:creationId xmlns:a16="http://schemas.microsoft.com/office/drawing/2014/main" id="{AD6B4DB1-FA35-4E64-9682-63339300ECE1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5491163" y="2716213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5" name="Straight Connector 1274">
            <a:extLst>
              <a:ext uri="{FF2B5EF4-FFF2-40B4-BE49-F238E27FC236}">
                <a16:creationId xmlns:a16="http://schemas.microsoft.com/office/drawing/2014/main" id="{5A5B3E2F-C965-4277-9ECE-98B7E3377DC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4400550" y="2782888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2" name="Straight Connector 1271">
            <a:extLst>
              <a:ext uri="{FF2B5EF4-FFF2-40B4-BE49-F238E27FC236}">
                <a16:creationId xmlns:a16="http://schemas.microsoft.com/office/drawing/2014/main" id="{1B96668E-58E1-4757-AFF8-D42F1E2135CE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219325" y="3001963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3" name="Straight Connector 1272">
            <a:extLst>
              <a:ext uri="{FF2B5EF4-FFF2-40B4-BE49-F238E27FC236}">
                <a16:creationId xmlns:a16="http://schemas.microsoft.com/office/drawing/2014/main" id="{413E5EBF-23C1-4CF4-BF54-362B981DE8D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309938" y="2870200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C5DFA1D-1217-46E8-8ADB-567757444AF7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581775" y="2686050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B130835-46D1-4FB5-8A37-DD7FD6DC83C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672388" y="2587625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566150C2-56F9-45AE-98C9-DB2E626A3062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1016627"/>
              </p:ext>
            </p:extLst>
          </p:nvPr>
        </p:nvGraphicFramePr>
        <p:xfrm>
          <a:off x="1373188" y="2244725"/>
          <a:ext cx="7799387" cy="108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1B81D3F4-C8B2-4ECA-B19B-E760EA5C248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971800" y="2844800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AE9020-755A-4218-B752-1950501DE414}" type="datetime'''''2''''''''''''''''''''''''''2''''''''''''''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a-DK" sz="1200" noProof="0"/>
          </a:p>
        </p:txBody>
      </p:sp>
      <p:sp>
        <p:nvSpPr>
          <p:cNvPr id="1279" name="Text Placeholder 2">
            <a:extLst>
              <a:ext uri="{FF2B5EF4-FFF2-40B4-BE49-F238E27FC236}">
                <a16:creationId xmlns:a16="http://schemas.microsoft.com/office/drawing/2014/main" id="{25F0EE67-E141-46C0-86E1-48A5B3A43F9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624013" y="3298825"/>
            <a:ext cx="754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058D43-29F2-4C3B-9C59-0F4934146D1B}" type="datetime'''Co''''''''''n''''t''''''''''''''''''''''''a''''''ine''''r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ntainer</a:t>
            </a:fld>
            <a:endParaRPr lang="da-DK" sz="1200" noProof="0"/>
          </a:p>
        </p:txBody>
      </p:sp>
      <p:sp>
        <p:nvSpPr>
          <p:cNvPr id="1281" name="Text Placeholder 2">
            <a:extLst>
              <a:ext uri="{FF2B5EF4-FFF2-40B4-BE49-F238E27FC236}">
                <a16:creationId xmlns:a16="http://schemas.microsoft.com/office/drawing/2014/main" id="{C132DCFE-A946-4663-A530-9E02A0F8AA6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695575" y="3298825"/>
            <a:ext cx="790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29206D-DE5B-4726-8340-3D10A81C2AD7}" type="datetime'L''''o''gi''''s''''''''''''''''''''''''''t''''''''ik*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ogistik*</a:t>
            </a:fld>
            <a:r>
              <a:rPr lang="da-DK" altLang="en-US" sz="1200"/>
              <a:t>*</a:t>
            </a:r>
            <a:endParaRPr lang="da-DK" sz="1200" noProof="0"/>
          </a:p>
        </p:txBody>
      </p:sp>
      <p:sp>
        <p:nvSpPr>
          <p:cNvPr id="1283" name="Text Placeholder 2">
            <a:extLst>
              <a:ext uri="{FF2B5EF4-FFF2-40B4-BE49-F238E27FC236}">
                <a16:creationId xmlns:a16="http://schemas.microsoft.com/office/drawing/2014/main" id="{3AA28D4A-81D4-42F2-8081-FAD5CD4C830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830638" y="3298825"/>
            <a:ext cx="7016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4A9277-3921-4155-B76A-DD4945F9029D}" type="datetime'''Fa''''''''s''''''''t'''' ''bu''''''''l''''''''k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ast bulk</a:t>
            </a:fld>
            <a:endParaRPr lang="da-DK" sz="1200" noProof="0"/>
          </a:p>
        </p:txBody>
      </p:sp>
      <p:sp>
        <p:nvSpPr>
          <p:cNvPr id="1284" name="Text Placeholder 2">
            <a:extLst>
              <a:ext uri="{FF2B5EF4-FFF2-40B4-BE49-F238E27FC236}">
                <a16:creationId xmlns:a16="http://schemas.microsoft.com/office/drawing/2014/main" id="{5FAFD653-EA8C-4597-BF9C-34857B5EEBE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733925" y="3298825"/>
            <a:ext cx="1077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CE7D43-37BC-4820-B0F4-31BA221DBACB}" type="datetime'''F''''l''y''''''d''''e''n''''''d''''''''''''e'' bu''lk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lydende bulk</a:t>
            </a:fld>
            <a:endParaRPr lang="da-DK" sz="1200" noProof="0"/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D70664D7-6F95-4A73-A4B7-C94FC808D08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153025" y="2659063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F693B7-0864-44C4-993F-D11727429B24}" type="datetime'''''''''''''''''''''11''''''''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da-DK" sz="1200" noProof="0"/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45CBEAB4-E279-470A-A6E5-D3DFA600C1F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062413" y="2735263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20B08F-D0F0-4EFA-B3DE-F05DF85FC836}" type="datetime'1''''''''''''''''''''''''''''''''''''''''''4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da-DK" sz="1200" noProof="0"/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D1B63F59-6B01-425B-98E2-418592C6831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292850" y="2609850"/>
            <a:ext cx="141288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925162-3848-415B-BD0B-F79F9D1CF4B3}" type="datetime'''''''''''''''''''''''''''''''''''''''5''''''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da-DK" sz="1200" noProof="0"/>
          </a:p>
        </p:txBody>
      </p:sp>
      <p:sp>
        <p:nvSpPr>
          <p:cNvPr id="1280" name="Text Placeholder 2">
            <a:extLst>
              <a:ext uri="{FF2B5EF4-FFF2-40B4-BE49-F238E27FC236}">
                <a16:creationId xmlns:a16="http://schemas.microsoft.com/office/drawing/2014/main" id="{021E4542-FDD5-4D9E-91A0-616AD7158A8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126163" y="3298825"/>
            <a:ext cx="473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EED9E0-E549-4D49-81F2-EA2201647795}" type="datetime'R''''''''''''''o''-''''R''''''''''''''''''''''o''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o-Ro</a:t>
            </a:fld>
            <a:endParaRPr lang="da-DK" sz="1200" noProof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BFE0CA05-1BDA-4DAA-844E-9BA79880A08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334250" y="2546350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C53187-E6A6-4B03-8D11-0ECC8FE145E9}" type="datetime'''''''''''''1''''''''''6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da-DK" sz="1200" noProof="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819DEE7A-4736-4440-BE68-DDC8C339B3E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078663" y="3298825"/>
            <a:ext cx="750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A2A3FD-483F-49D6-B099-4F04616790F4}" type="datetime'''''''''''''An''''''''''''de''t''''''''''''*''''''*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ndet**</a:t>
            </a:fld>
            <a:r>
              <a:rPr lang="da-DK" altLang="en-US" sz="1200"/>
              <a:t>*</a:t>
            </a:r>
            <a:endParaRPr lang="da-DK" sz="1200" noProof="0"/>
          </a:p>
        </p:txBody>
      </p:sp>
      <p:sp>
        <p:nvSpPr>
          <p:cNvPr id="215" name="Text Placeholder 2">
            <a:extLst>
              <a:ext uri="{FF2B5EF4-FFF2-40B4-BE49-F238E27FC236}">
                <a16:creationId xmlns:a16="http://schemas.microsoft.com/office/drawing/2014/main" id="{B366D93B-C29F-498A-A183-B3D4B4C4355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356600" y="3298825"/>
            <a:ext cx="376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582D1E-34E1-4AC7-A974-1D8036EAF5AE}" type="datetime'T''''''''''''''''''''''''''ota''''''l''''''''''''''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da-DK" sz="1200" noProof="0"/>
          </a:p>
        </p:txBody>
      </p:sp>
      <p:cxnSp>
        <p:nvCxnSpPr>
          <p:cNvPr id="1288" name="Straight Connector 1287">
            <a:extLst>
              <a:ext uri="{FF2B5EF4-FFF2-40B4-BE49-F238E27FC236}">
                <a16:creationId xmlns:a16="http://schemas.microsoft.com/office/drawing/2014/main" id="{50B2B003-752F-42B0-B0FB-6B46B37CF6D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3309938" y="4022725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9" name="Straight Connector 1288">
            <a:extLst>
              <a:ext uri="{FF2B5EF4-FFF2-40B4-BE49-F238E27FC236}">
                <a16:creationId xmlns:a16="http://schemas.microsoft.com/office/drawing/2014/main" id="{E24BD8CE-BAE3-437C-B351-2616ABC812E7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4400550" y="3892550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7" name="Straight Connector 1286">
            <a:extLst>
              <a:ext uri="{FF2B5EF4-FFF2-40B4-BE49-F238E27FC236}">
                <a16:creationId xmlns:a16="http://schemas.microsoft.com/office/drawing/2014/main" id="{56B5B01D-28C4-4FF2-AFE2-7BA57231BC8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2219325" y="4213225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0" name="Straight Connector 1289">
            <a:extLst>
              <a:ext uri="{FF2B5EF4-FFF2-40B4-BE49-F238E27FC236}">
                <a16:creationId xmlns:a16="http://schemas.microsoft.com/office/drawing/2014/main" id="{539DCD9E-1575-4D7A-9201-DD45215612FE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5491163" y="3824288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34AC418-977C-4007-901F-085DEF0C5372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6581775" y="3744913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B9AF12B-A1DD-46A5-B19E-3F9F1F3B273D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7672388" y="3646488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D0D31111-AE2C-4931-8A58-B4663A0E7637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608385990"/>
              </p:ext>
            </p:extLst>
          </p:nvPr>
        </p:nvGraphicFramePr>
        <p:xfrm>
          <a:off x="1373188" y="3563938"/>
          <a:ext cx="7799387" cy="108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320" name="Text Placeholder 2">
            <a:extLst>
              <a:ext uri="{FF2B5EF4-FFF2-40B4-BE49-F238E27FC236}">
                <a16:creationId xmlns:a16="http://schemas.microsoft.com/office/drawing/2014/main" id="{5E19EE88-768E-4BE0-887E-FA9E25D633C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695575" y="4618038"/>
            <a:ext cx="790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CC7372-3633-4396-A60E-A44970B6A8E1}" type="datetime'''''''L''''''''''''''''o''g''''''''''''''is''''''''ti''k''*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ogistik*</a:t>
            </a:fld>
            <a:r>
              <a:rPr lang="da-DK" altLang="en-US" sz="1200"/>
              <a:t>*</a:t>
            </a:r>
            <a:endParaRPr lang="da-DK" sz="1200" noProof="0"/>
          </a:p>
        </p:txBody>
      </p:sp>
      <p:sp>
        <p:nvSpPr>
          <p:cNvPr id="245" name="Text Placeholder 2">
            <a:extLst>
              <a:ext uri="{FF2B5EF4-FFF2-40B4-BE49-F238E27FC236}">
                <a16:creationId xmlns:a16="http://schemas.microsoft.com/office/drawing/2014/main" id="{DEB4D70C-603A-474D-9BAA-09398B71217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356600" y="4618038"/>
            <a:ext cx="376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2E4F81-8C92-4808-BB2B-DAA47DC9FC18}" type="datetime'''''''''''''''T''''''''''''''o''t''''''''''''''''a''l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da-DK" sz="1200" noProof="0"/>
          </a:p>
        </p:txBody>
      </p:sp>
      <p:sp>
        <p:nvSpPr>
          <p:cNvPr id="1294" name="Text Placeholder 2">
            <a:extLst>
              <a:ext uri="{FF2B5EF4-FFF2-40B4-BE49-F238E27FC236}">
                <a16:creationId xmlns:a16="http://schemas.microsoft.com/office/drawing/2014/main" id="{9BBEFBF5-7430-4B49-8F89-E485321947A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624013" y="4618038"/>
            <a:ext cx="754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826B68-ECD6-45FE-8967-3E15A74B4D71}" type="datetime'''C''''''o''''''''''''''n''t''''a''ine''''''r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ntainer</a:t>
            </a:fld>
            <a:endParaRPr lang="da-DK" sz="1200" noProof="0"/>
          </a:p>
        </p:txBody>
      </p:sp>
      <p:sp>
        <p:nvSpPr>
          <p:cNvPr id="1299" name="Text Placeholder 2">
            <a:extLst>
              <a:ext uri="{FF2B5EF4-FFF2-40B4-BE49-F238E27FC236}">
                <a16:creationId xmlns:a16="http://schemas.microsoft.com/office/drawing/2014/main" id="{4CD94582-B43E-4842-9129-5E4D67CA749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126163" y="4618038"/>
            <a:ext cx="473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C6B103-EC8D-49FE-A6E9-444BC18279DD}" type="datetime'''''''R''''''''''''''''''''o''''''-''''''''''''''Ro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o-Ro</a:t>
            </a:fld>
            <a:endParaRPr lang="da-DK" sz="1200" noProof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8F1EA00A-E83B-421D-9E6C-6B27706A3CB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62413" y="3867150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9D9D72-BA21-4E7D-8B1B-052529294BF7}" type="datetime'''''''''''''2''''''''''''2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da-DK" sz="1200" noProof="0"/>
          </a:p>
        </p:txBody>
      </p:sp>
      <p:sp>
        <p:nvSpPr>
          <p:cNvPr id="1296" name="Text Placeholder 2">
            <a:extLst>
              <a:ext uri="{FF2B5EF4-FFF2-40B4-BE49-F238E27FC236}">
                <a16:creationId xmlns:a16="http://schemas.microsoft.com/office/drawing/2014/main" id="{EB9B8A50-BE93-4996-8531-C927099EFC3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830638" y="4618038"/>
            <a:ext cx="7016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57C2E9-2DF5-4E13-BEF7-43262777CD1D}" type="datetime'''''''F''''''a''s''t'''' ''''''''''''b''''u''''l''k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ast bulk</a:t>
            </a:fld>
            <a:endParaRPr lang="da-DK" sz="1200" noProof="0"/>
          </a:p>
        </p:txBody>
      </p:sp>
      <p:sp>
        <p:nvSpPr>
          <p:cNvPr id="249" name="Text Placeholder 2">
            <a:extLst>
              <a:ext uri="{FF2B5EF4-FFF2-40B4-BE49-F238E27FC236}">
                <a16:creationId xmlns:a16="http://schemas.microsoft.com/office/drawing/2014/main" id="{BC547F98-0773-4EC6-AE85-45946B24E6D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243638" y="3694113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3FA53C-B571-423B-B02E-6E1DEF1487F0}" type="datetime'''''''1''''3''''''''''''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da-DK" sz="1200" noProof="0"/>
          </a:p>
        </p:txBody>
      </p:sp>
      <p:sp>
        <p:nvSpPr>
          <p:cNvPr id="248" name="Text Placeholder 2">
            <a:extLst>
              <a:ext uri="{FF2B5EF4-FFF2-40B4-BE49-F238E27FC236}">
                <a16:creationId xmlns:a16="http://schemas.microsoft.com/office/drawing/2014/main" id="{0B6D40C2-E576-4791-A9E9-C7AE12E9A97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153025" y="3767138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873BF8-70AB-4ED5-8E3E-D1F8240EE239}" type="datetime'''''''''''''''''''''''''1''''''''''1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da-DK" sz="1200" noProof="0"/>
          </a:p>
        </p:txBody>
      </p:sp>
      <p:sp>
        <p:nvSpPr>
          <p:cNvPr id="1295" name="Text Placeholder 2">
            <a:extLst>
              <a:ext uri="{FF2B5EF4-FFF2-40B4-BE49-F238E27FC236}">
                <a16:creationId xmlns:a16="http://schemas.microsoft.com/office/drawing/2014/main" id="{8AC5825C-941C-4093-AF70-E5AB90CCA86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4733925" y="4618038"/>
            <a:ext cx="1077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F54189-14CC-49F6-A096-E13FD0384F36}" type="datetime'''''''''F''l''yd''''''e''n''''d''e ''b''u''''''lk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lydende bulk</a:t>
            </a:fld>
            <a:endParaRPr lang="da-DK" sz="1200" noProof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7B31902E-DB09-4970-82B1-9AF2A6B5731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334250" y="3605213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6C626A-2812-4290-B91E-898141DA1D23}" type="datetime'''1''''''''''''''''''''''''''''''''6''''''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da-DK" sz="1200" noProof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765F3D1E-FE0D-45EA-99D1-35B746F91859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078663" y="4618038"/>
            <a:ext cx="750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0B5445-C73C-4AAB-A5E6-8A32E4312A74}" type="datetime'''A''''''''n''''''d''''e''t''''''''*''''''*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ndet**</a:t>
            </a:fld>
            <a:r>
              <a:rPr lang="da-DK" altLang="en-US" sz="1200"/>
              <a:t>*</a:t>
            </a:r>
            <a:endParaRPr lang="da-DK" sz="1200" noProof="0"/>
          </a:p>
        </p:txBody>
      </p:sp>
      <p:cxnSp>
        <p:nvCxnSpPr>
          <p:cNvPr id="1303" name="Straight Connector 1302">
            <a:extLst>
              <a:ext uri="{FF2B5EF4-FFF2-40B4-BE49-F238E27FC236}">
                <a16:creationId xmlns:a16="http://schemas.microsoft.com/office/drawing/2014/main" id="{18A3108B-4877-41C6-996D-C1FAC844DB72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4400550" y="5672138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2" name="Straight Connector 1301">
            <a:extLst>
              <a:ext uri="{FF2B5EF4-FFF2-40B4-BE49-F238E27FC236}">
                <a16:creationId xmlns:a16="http://schemas.microsoft.com/office/drawing/2014/main" id="{A0DE1BE8-7C4E-4744-8892-463295A8D558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3309938" y="5672138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4" name="Straight Connector 1303">
            <a:extLst>
              <a:ext uri="{FF2B5EF4-FFF2-40B4-BE49-F238E27FC236}">
                <a16:creationId xmlns:a16="http://schemas.microsoft.com/office/drawing/2014/main" id="{7CE46BE4-C0AB-4A9A-B5A7-3E253E2A0AA5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5491163" y="5605463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1" name="Straight Connector 1300">
            <a:extLst>
              <a:ext uri="{FF2B5EF4-FFF2-40B4-BE49-F238E27FC236}">
                <a16:creationId xmlns:a16="http://schemas.microsoft.com/office/drawing/2014/main" id="{1ED1D2E6-A63D-4E37-BE17-1100A48533E7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2219325" y="5746750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831198E-A3A8-4EE4-BF06-95672DAC154A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6581775" y="5605463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6D9551E6-B3B9-4DC5-B554-3DC4D5B1099C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7672388" y="5507038"/>
            <a:ext cx="65405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162A1C5B-D815-47EF-BDEF-0BAF4025B13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3963988" y="5668963"/>
            <a:ext cx="436563" cy="6350"/>
          </a:xfrm>
          <a:prstGeom prst="rect">
            <a:avLst/>
          </a:prstGeom>
          <a:solidFill>
            <a:srgbClr val="CCEBFD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D97DDE3-3D92-4B12-967A-AD81000E2023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145213" y="5602288"/>
            <a:ext cx="436563" cy="6350"/>
          </a:xfrm>
          <a:prstGeom prst="rect">
            <a:avLst/>
          </a:prstGeom>
          <a:solidFill>
            <a:srgbClr val="CCEBFD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graphicFrame>
        <p:nvGraphicFramePr>
          <p:cNvPr id="105" name="Chart 104">
            <a:extLst>
              <a:ext uri="{FF2B5EF4-FFF2-40B4-BE49-F238E27FC236}">
                <a16:creationId xmlns:a16="http://schemas.microsoft.com/office/drawing/2014/main" id="{F4F2714A-94F3-4B48-A78A-898DEA708BA7}"/>
              </a:ext>
            </a:extLst>
          </p:cNvPr>
          <p:cNvGraphicFramePr/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163522319"/>
              </p:ext>
            </p:extLst>
          </p:nvPr>
        </p:nvGraphicFramePr>
        <p:xfrm>
          <a:off x="1373188" y="4881563"/>
          <a:ext cx="7799387" cy="108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1316" name="Text Placeholder 2">
            <a:extLst>
              <a:ext uri="{FF2B5EF4-FFF2-40B4-BE49-F238E27FC236}">
                <a16:creationId xmlns:a16="http://schemas.microsoft.com/office/drawing/2014/main" id="{0A33D72A-23E9-484A-A9F5-1EF700C91F7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126163" y="5957888"/>
            <a:ext cx="473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B3479F-B94C-45E4-8735-CA0E66CC3332}" type="datetime'''''''''''''''''R''''''''o''''''''-''''R''''''''''''o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o-Ro</a:t>
            </a:fld>
            <a:endParaRPr lang="da-DK" sz="1200" noProof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F9FD4905-9039-47CB-8F03-DA772D3D7F2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111625" y="5581650"/>
            <a:ext cx="141288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16CFBE-3F6A-4C63-B00D-1AF0857D2021}" type="datetime'''''''''''''''''''''0''''''''''''''''''''''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a-DK" sz="1200" noProof="0"/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44B2CC1C-7136-4D6D-ABDA-E739EB653627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881188" y="5724525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8596AC-1262-44C7-9D19-454526C236F4}" type="datetime'''''''''''''''''''''2''''3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</a:t>
            </a:fld>
            <a:endParaRPr lang="da-DK" sz="1200" noProof="0"/>
          </a:p>
        </p:txBody>
      </p:sp>
      <p:sp>
        <p:nvSpPr>
          <p:cNvPr id="277" name="Text Placeholder 2">
            <a:extLst>
              <a:ext uri="{FF2B5EF4-FFF2-40B4-BE49-F238E27FC236}">
                <a16:creationId xmlns:a16="http://schemas.microsoft.com/office/drawing/2014/main" id="{6CB94C62-F07A-4E60-A435-A56C08617667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5153025" y="5548313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48B02D-E9C4-433D-8563-0A9F124CCEF6}" type="datetime'''1''''''''''''''''1''''''''''''''''''''''''''''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da-DK" sz="1200" noProof="0"/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A4A7D32E-83CF-4350-AC40-78950250CE45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971800" y="5618163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739ED1-6620-4E7D-8EA1-3F61092583AB}" type="datetime'''''1''''''''''''''''''''''''''''''''''''''2''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da-DK" sz="1200" noProof="0"/>
          </a:p>
        </p:txBody>
      </p:sp>
      <p:sp>
        <p:nvSpPr>
          <p:cNvPr id="1310" name="Text Placeholder 2">
            <a:extLst>
              <a:ext uri="{FF2B5EF4-FFF2-40B4-BE49-F238E27FC236}">
                <a16:creationId xmlns:a16="http://schemas.microsoft.com/office/drawing/2014/main" id="{002BF97C-1E97-41B3-9C6E-441B81B9838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624013" y="5957888"/>
            <a:ext cx="754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73BBAC-AA44-4BFD-979A-D75CBEB18E8A}" type="datetime'''C''''''o''n''t''a''''''''''i''n''''''''''e''''''''''r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ontainer</a:t>
            </a:fld>
            <a:endParaRPr lang="da-DK" sz="1200" noProof="0"/>
          </a:p>
        </p:txBody>
      </p:sp>
      <p:sp>
        <p:nvSpPr>
          <p:cNvPr id="1313" name="Text Placeholder 2">
            <a:extLst>
              <a:ext uri="{FF2B5EF4-FFF2-40B4-BE49-F238E27FC236}">
                <a16:creationId xmlns:a16="http://schemas.microsoft.com/office/drawing/2014/main" id="{28A21EE6-4BF7-4D70-8505-827E13184641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830638" y="5957888"/>
            <a:ext cx="7016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3D5EF1-E90A-491B-8A59-4573B2F197B2}" type="datetime'''''''F''''''''''''as''t'' ''b''''u''''''''''l''''''''k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ast bulk</a:t>
            </a:fld>
            <a:endParaRPr lang="da-DK" sz="1200" noProof="0"/>
          </a:p>
        </p:txBody>
      </p:sp>
      <p:sp>
        <p:nvSpPr>
          <p:cNvPr id="1309" name="Text Placeholder 2">
            <a:extLst>
              <a:ext uri="{FF2B5EF4-FFF2-40B4-BE49-F238E27FC236}">
                <a16:creationId xmlns:a16="http://schemas.microsoft.com/office/drawing/2014/main" id="{7228007E-5A7B-4416-9D5A-4FAEB0BFA04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2695575" y="5957888"/>
            <a:ext cx="790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91890A-E75A-4F31-8829-AF77ACD41AA1}" type="datetime'''Lo''g''''i''''''''''''''''''s''t''''''''''''''''''''''i''k*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ogistik*</a:t>
            </a:fld>
            <a:r>
              <a:rPr lang="da-DK" altLang="en-US" sz="1200"/>
              <a:t>*</a:t>
            </a:r>
            <a:endParaRPr lang="da-DK" sz="1200" noProof="0"/>
          </a:p>
        </p:txBody>
      </p:sp>
      <p:sp>
        <p:nvSpPr>
          <p:cNvPr id="1315" name="Text Placeholder 2">
            <a:extLst>
              <a:ext uri="{FF2B5EF4-FFF2-40B4-BE49-F238E27FC236}">
                <a16:creationId xmlns:a16="http://schemas.microsoft.com/office/drawing/2014/main" id="{AB24A46A-8614-4684-82FE-B52FA1C2A68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4733925" y="5957888"/>
            <a:ext cx="1077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9296AF-8E55-488A-8CEE-6EA64BE689FF}" type="datetime'''''''''''''''''''Fl''''''yde''''''''nde bu''''''l''''''k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lydende bulk</a:t>
            </a:fld>
            <a:endParaRPr lang="da-DK" sz="1200" noProof="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D7EC0B67-E3E9-4ED6-9AB6-9504C0721DC3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292850" y="5514975"/>
            <a:ext cx="141288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F3DB5D-85FC-4DAB-AA0E-E17C5ABBAA2A}" type="datetime'''''0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a-DK" sz="1200" noProof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25F1CF71-1138-421F-9B41-0C32CD33D2A8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7334250" y="5465763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79B5FF-21AF-45E6-8820-1AC404C5EE8C}" type="datetime'''''''''''''''''''''''''''''''''''''''''''1''''''6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da-DK" sz="1200" noProof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12088159-E0FB-471F-9F52-A7D56784D53E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078663" y="5957888"/>
            <a:ext cx="750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B862A9-42BC-4601-8423-A8586412763D}" type="datetime'''A''''''nd''''''''''''e''t''''''''''''''*''''''''''''''''''*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ndet**</a:t>
            </a:fld>
            <a:r>
              <a:rPr lang="da-DK" altLang="en-US" sz="1200"/>
              <a:t>*</a:t>
            </a:r>
            <a:endParaRPr lang="da-DK" sz="1200" noProof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76C3CA0D-A0DC-467F-98DC-6E125778727A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8356600" y="5957888"/>
            <a:ext cx="376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73012E-A845-4B8E-B023-C98842350A8B}" type="datetime'''''''T''o''''''''''''''''''''ta''''''''''''l''''''''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da-DK" sz="1200" noProof="0"/>
          </a:p>
        </p:txBody>
      </p:sp>
      <p:sp>
        <p:nvSpPr>
          <p:cNvPr id="1447" name="Rectangle: Rounded Corners 1446">
            <a:extLst>
              <a:ext uri="{FF2B5EF4-FFF2-40B4-BE49-F238E27FC236}">
                <a16:creationId xmlns:a16="http://schemas.microsoft.com/office/drawing/2014/main" id="{D7AE53A8-1FED-4CD3-AAD6-78434F96AD29}"/>
              </a:ext>
            </a:extLst>
          </p:cNvPr>
          <p:cNvSpPr/>
          <p:nvPr/>
        </p:nvSpPr>
        <p:spPr>
          <a:xfrm>
            <a:off x="367744" y="1833797"/>
            <a:ext cx="4876840" cy="24130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da-DK" sz="1400" b="1">
                <a:solidFill>
                  <a:schemeClr val="tx1"/>
                </a:solidFill>
              </a:rPr>
              <a:t>Behovet under forskellige scenarier* i hektar</a:t>
            </a:r>
          </a:p>
        </p:txBody>
      </p:sp>
      <p:sp>
        <p:nvSpPr>
          <p:cNvPr id="109" name="Footer Placeholder 4">
            <a:extLst>
              <a:ext uri="{FF2B5EF4-FFF2-40B4-BE49-F238E27FC236}">
                <a16:creationId xmlns:a16="http://schemas.microsoft.com/office/drawing/2014/main" id="{CC47F2B9-6EC0-4DB1-95A4-B7EF90664D0C}"/>
              </a:ext>
            </a:extLst>
          </p:cNvPr>
          <p:cNvSpPr txBox="1">
            <a:spLocks/>
          </p:cNvSpPr>
          <p:nvPr/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lIns="0" tIns="0" rIns="0" bIns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700">
                <a:solidFill>
                  <a:srgbClr val="009DF0"/>
                </a:solidFill>
              </a:rPr>
              <a:t>Noter: *Arealbehovet er udarbejdet på baggrund af det materiale/data RMC har fået adgang til; **Logistik dækker over et areal som betragtes som en integreret del af containerterminalen, hvor havnens kunder har logistikterminaler; ***Andet består af 6 hektar til blueline samt areal til fællesareal, ISPS-gate og jernbane. </a:t>
            </a:r>
          </a:p>
        </p:txBody>
      </p:sp>
      <p:sp>
        <p:nvSpPr>
          <p:cNvPr id="103" name="Slide Number Placeholder 4">
            <a:extLst>
              <a:ext uri="{FF2B5EF4-FFF2-40B4-BE49-F238E27FC236}">
                <a16:creationId xmlns:a16="http://schemas.microsoft.com/office/drawing/2014/main" id="{174E3406-837A-4E83-A028-DA3363E8E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6800" y="6476400"/>
            <a:ext cx="626400" cy="108000"/>
          </a:xfrm>
        </p:spPr>
        <p:txBody>
          <a:bodyPr/>
          <a:lstStyle/>
          <a:p>
            <a:fld id="{31421AFA-3AE7-4CEA-BC9B-447859BED57B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157" name="Speech Bubble: Rectangle 156">
            <a:extLst>
              <a:ext uri="{FF2B5EF4-FFF2-40B4-BE49-F238E27FC236}">
                <a16:creationId xmlns:a16="http://schemas.microsoft.com/office/drawing/2014/main" id="{8D135025-108B-4AE8-93CF-AD8C9899C458}"/>
              </a:ext>
            </a:extLst>
          </p:cNvPr>
          <p:cNvSpPr/>
          <p:nvPr/>
        </p:nvSpPr>
        <p:spPr>
          <a:xfrm>
            <a:off x="6187801" y="1942208"/>
            <a:ext cx="2223822" cy="265777"/>
          </a:xfrm>
          <a:prstGeom prst="wedgeRectCallout">
            <a:avLst>
              <a:gd name="adj1" fmla="val 11244"/>
              <a:gd name="adj2" fmla="val 122427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200">
                <a:solidFill>
                  <a:schemeClr val="tx1"/>
                </a:solidFill>
              </a:rPr>
              <a:t>Inkl. 6 hektar til blueline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BA34EBA0-0179-4EA8-A6D3-8F17AAF2AE33}"/>
              </a:ext>
            </a:extLst>
          </p:cNvPr>
          <p:cNvCxnSpPr>
            <a:cxnSpLocks/>
          </p:cNvCxnSpPr>
          <p:nvPr/>
        </p:nvCxnSpPr>
        <p:spPr>
          <a:xfrm>
            <a:off x="842858" y="3494879"/>
            <a:ext cx="8208000" cy="0"/>
          </a:xfrm>
          <a:prstGeom prst="line">
            <a:avLst/>
          </a:prstGeom>
          <a:ln w="9525">
            <a:solidFill>
              <a:schemeClr val="accent6">
                <a:lumMod val="90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569069DC-2E93-4B24-8411-0AB4F2903AA8}"/>
              </a:ext>
            </a:extLst>
          </p:cNvPr>
          <p:cNvSpPr/>
          <p:nvPr/>
        </p:nvSpPr>
        <p:spPr>
          <a:xfrm>
            <a:off x="9058350" y="2205037"/>
            <a:ext cx="2765905" cy="39195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r>
              <a:rPr lang="da-DK" sz="1200"/>
              <a:t>Denne tager udgangspunkt i basis scenariet, men grundet usikkerhed omkring udviklingen i fast bulk og Ro-Ro, er der antaget intet behov for en udvidelse på disse områder.</a:t>
            </a:r>
          </a:p>
          <a:p>
            <a:endParaRPr lang="da-DK" sz="1400" noProof="0"/>
          </a:p>
          <a:p>
            <a:endParaRPr lang="da-DK" sz="1400"/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B9B6965B-F0A1-4133-BA57-02F24D53B990}"/>
              </a:ext>
            </a:extLst>
          </p:cNvPr>
          <p:cNvSpPr/>
          <p:nvPr/>
        </p:nvSpPr>
        <p:spPr>
          <a:xfrm>
            <a:off x="9058350" y="1833797"/>
            <a:ext cx="2223822" cy="24130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r>
              <a:rPr lang="da-DK" sz="1400" b="1">
                <a:solidFill>
                  <a:schemeClr val="tx1"/>
                </a:solidFill>
              </a:rPr>
              <a:t>Minimumsløsningen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44AB7FEC-A702-42E9-8920-9F345684F3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7715938"/>
              </p:ext>
            </p:extLst>
          </p:nvPr>
        </p:nvGraphicFramePr>
        <p:xfrm>
          <a:off x="9125560" y="3622637"/>
          <a:ext cx="2653418" cy="2227341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539298">
                  <a:extLst>
                    <a:ext uri="{9D8B030D-6E8A-4147-A177-3AD203B41FA5}">
                      <a16:colId xmlns:a16="http://schemas.microsoft.com/office/drawing/2014/main" val="2574514827"/>
                    </a:ext>
                  </a:extLst>
                </a:gridCol>
                <a:gridCol w="1114120">
                  <a:extLst>
                    <a:ext uri="{9D8B030D-6E8A-4147-A177-3AD203B41FA5}">
                      <a16:colId xmlns:a16="http://schemas.microsoft.com/office/drawing/2014/main" val="3982761841"/>
                    </a:ext>
                  </a:extLst>
                </a:gridCol>
              </a:tblGrid>
              <a:tr h="238170">
                <a:tc>
                  <a:txBody>
                    <a:bodyPr/>
                    <a:lstStyle/>
                    <a:p>
                      <a:r>
                        <a:rPr lang="da-DK" sz="1200" b="1">
                          <a:solidFill>
                            <a:schemeClr val="bg1"/>
                          </a:solidFill>
                        </a:rPr>
                        <a:t>Område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b="1">
                          <a:solidFill>
                            <a:schemeClr val="bg1"/>
                          </a:solidFill>
                        </a:rPr>
                        <a:t>Hekta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9346201"/>
                  </a:ext>
                </a:extLst>
              </a:tr>
              <a:tr h="279003">
                <a:tc>
                  <a:txBody>
                    <a:bodyPr/>
                    <a:lstStyle/>
                    <a:p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Contain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4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0119456"/>
                  </a:ext>
                </a:extLst>
              </a:tr>
              <a:tr h="279003">
                <a:tc>
                  <a:txBody>
                    <a:bodyPr/>
                    <a:lstStyle/>
                    <a:p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Logisti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3455290"/>
                  </a:ext>
                </a:extLst>
              </a:tr>
              <a:tr h="279003">
                <a:tc>
                  <a:txBody>
                    <a:bodyPr/>
                    <a:lstStyle/>
                    <a:p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Fast bul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7816201"/>
                  </a:ext>
                </a:extLst>
              </a:tr>
              <a:tr h="279003">
                <a:tc>
                  <a:txBody>
                    <a:bodyPr/>
                    <a:lstStyle/>
                    <a:p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Flydende bulk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1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4378180"/>
                  </a:ext>
                </a:extLst>
              </a:tr>
              <a:tr h="279003">
                <a:tc>
                  <a:txBody>
                    <a:bodyPr/>
                    <a:lstStyle/>
                    <a:p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Ro-Ro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-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7208465"/>
                  </a:ext>
                </a:extLst>
              </a:tr>
              <a:tr h="279003">
                <a:tc>
                  <a:txBody>
                    <a:bodyPr/>
                    <a:lstStyle/>
                    <a:p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Ande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>
                          <a:solidFill>
                            <a:schemeClr val="bg1"/>
                          </a:solidFill>
                        </a:rPr>
                        <a:t>16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4607670"/>
                  </a:ext>
                </a:extLst>
              </a:tr>
              <a:tr h="279003">
                <a:tc>
                  <a:txBody>
                    <a:bodyPr/>
                    <a:lstStyle/>
                    <a:p>
                      <a:r>
                        <a:rPr lang="da-DK" sz="1200" b="1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1200" b="1">
                          <a:solidFill>
                            <a:schemeClr val="bg1"/>
                          </a:solidFill>
                        </a:rPr>
                        <a:t>89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91631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82769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61BF8F2-83B4-4313-879E-FE1D98566A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767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5" progId="TCLayout.ActiveDocument.1">
                  <p:embed/>
                </p:oleObj>
              </mc:Choice>
              <mc:Fallback>
                <p:oleObj name="think-cell Slide" r:id="rId11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61BF8F2-83B4-4313-879E-FE1D98566A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>
            <a:extLst>
              <a:ext uri="{FF2B5EF4-FFF2-40B4-BE49-F238E27FC236}">
                <a16:creationId xmlns:a16="http://schemas.microsoft.com/office/drawing/2014/main" id="{42FD1C36-200C-41DD-8FF1-9F6617FB4AAA}"/>
              </a:ext>
            </a:extLst>
          </p:cNvPr>
          <p:cNvSpPr/>
          <p:nvPr/>
        </p:nvSpPr>
        <p:spPr>
          <a:xfrm>
            <a:off x="860425" y="2711450"/>
            <a:ext cx="7794625" cy="3011773"/>
          </a:xfrm>
          <a:prstGeom prst="rect">
            <a:avLst/>
          </a:prstGeom>
          <a:solidFill>
            <a:srgbClr val="F2F8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ACD4605-CAB8-471E-B4AA-4D647EFBE4B7}"/>
              </a:ext>
            </a:extLst>
          </p:cNvPr>
          <p:cNvSpPr/>
          <p:nvPr/>
        </p:nvSpPr>
        <p:spPr>
          <a:xfrm>
            <a:off x="860425" y="3571377"/>
            <a:ext cx="7794625" cy="2151845"/>
          </a:xfrm>
          <a:prstGeom prst="rect">
            <a:avLst/>
          </a:prstGeom>
          <a:solidFill>
            <a:srgbClr val="EBF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A16A6DA-2569-4B33-9D64-A21345C1B07D}"/>
              </a:ext>
            </a:extLst>
          </p:cNvPr>
          <p:cNvSpPr/>
          <p:nvPr/>
        </p:nvSpPr>
        <p:spPr>
          <a:xfrm>
            <a:off x="860425" y="4485232"/>
            <a:ext cx="7794625" cy="1246513"/>
          </a:xfrm>
          <a:prstGeom prst="rect">
            <a:avLst/>
          </a:prstGeom>
          <a:solidFill>
            <a:srgbClr val="FAF4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4E7A159-3B0E-410F-B6E6-8D7215B20B31}"/>
              </a:ext>
            </a:extLst>
          </p:cNvPr>
          <p:cNvCxnSpPr/>
          <p:nvPr/>
        </p:nvCxnSpPr>
        <p:spPr>
          <a:xfrm flipH="1">
            <a:off x="860425" y="3558937"/>
            <a:ext cx="8712200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753C496-44CA-480D-B017-744BE2029D5A}"/>
              </a:ext>
            </a:extLst>
          </p:cNvPr>
          <p:cNvCxnSpPr/>
          <p:nvPr/>
        </p:nvCxnSpPr>
        <p:spPr>
          <a:xfrm flipH="1">
            <a:off x="860425" y="4485232"/>
            <a:ext cx="8712200" cy="0"/>
          </a:xfrm>
          <a:prstGeom prst="line">
            <a:avLst/>
          </a:prstGeom>
          <a:ln w="9525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70810226-FB6E-4D7B-9357-E43801B61DC3}"/>
              </a:ext>
            </a:extLst>
          </p:cNvPr>
          <p:cNvCxnSpPr/>
          <p:nvPr/>
        </p:nvCxnSpPr>
        <p:spPr>
          <a:xfrm flipH="1">
            <a:off x="860425" y="2715882"/>
            <a:ext cx="8712200" cy="0"/>
          </a:xfrm>
          <a:prstGeom prst="line">
            <a:avLst/>
          </a:prstGeom>
          <a:ln w="952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FEA5CBFE-5885-4898-A892-B62FCABB1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De tre scenarier bygger på forventede vækstrater, hvor basis scenariet forventes at være det mest sandsynlige</a:t>
            </a:r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5CC3D3F2-71E3-4526-98F8-1100BB7884E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21878"/>
              </p:ext>
            </p:extLst>
          </p:nvPr>
        </p:nvGraphicFramePr>
        <p:xfrm>
          <a:off x="250825" y="2408238"/>
          <a:ext cx="8780463" cy="370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0E6C7D56-72AD-4D8D-8058-D1D08D3905F9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057275" y="2846388"/>
            <a:ext cx="212725" cy="0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713A0803-7ADB-4573-9723-8EB69BE8867B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057275" y="3373438"/>
            <a:ext cx="212725" cy="0"/>
          </a:xfrm>
          <a:prstGeom prst="line">
            <a:avLst/>
          </a:prstGeom>
          <a:ln w="38100" cap="rnd" cmpd="sng" algn="ctr">
            <a:solidFill>
              <a:srgbClr val="62294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CDCE242C-EBB7-4D56-A09B-382E35203CF3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057275" y="3109913"/>
            <a:ext cx="212725" cy="0"/>
          </a:xfrm>
          <a:prstGeom prst="line">
            <a:avLst/>
          </a:prstGeom>
          <a:ln w="38100" cap="rnd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0F8C0F6F-B8F9-4E48-84CA-B13E3A3D062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339850" y="2747963"/>
            <a:ext cx="903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FFD64D-BFD4-4DC2-A97C-148445EAD5B4}" type="datetime'''''''''''H''''ø''j'''''' ''''''''''''''''''''''væ''k''''st'''">
              <a:rPr lang="da-DK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øj vækst</a:t>
            </a:fld>
            <a:endParaRPr lang="da-DK" sz="1400" noProof="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DFAFAB99-F757-42C8-814F-B4403587233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39850" y="3011488"/>
            <a:ext cx="461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1A1792B-CCCD-465B-9988-D81777D6EFF5}" type="datetime'''''''''''''B''''''''''''''''a''''''s''''''i''s'''''">
              <a:rPr lang="da-DK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sis</a:t>
            </a:fld>
            <a:endParaRPr lang="da-DK" sz="1400" noProof="0"/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A03E1440-86A9-465E-A574-8AEABF341CB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39850" y="3275013"/>
            <a:ext cx="908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DF6E47-67D2-4293-BA53-CD824BDC4A66}" type="datetime'''L''''''''a''''v'''' ''''''v''æ''''''''kst'''''''''''''''''">
              <a:rPr lang="da-DK" altLang="en-US" sz="14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av vækst</a:t>
            </a:fld>
            <a:endParaRPr lang="da-DK" sz="1400" noProof="0"/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694F96CB-3FDF-46AF-A880-99913C52B5D8}"/>
              </a:ext>
            </a:extLst>
          </p:cNvPr>
          <p:cNvSpPr txBox="1"/>
          <p:nvPr/>
        </p:nvSpPr>
        <p:spPr>
          <a:xfrm>
            <a:off x="360000" y="2106483"/>
            <a:ext cx="14807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Arealbehov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AA483BA-C6B3-47B4-B2A4-598147BD1F8D}"/>
              </a:ext>
            </a:extLst>
          </p:cNvPr>
          <p:cNvCxnSpPr>
            <a:cxnSpLocks/>
          </p:cNvCxnSpPr>
          <p:nvPr/>
        </p:nvCxnSpPr>
        <p:spPr>
          <a:xfrm>
            <a:off x="8640763" y="2600325"/>
            <a:ext cx="0" cy="1884907"/>
          </a:xfrm>
          <a:prstGeom prst="line">
            <a:avLst/>
          </a:prstGeom>
          <a:ln w="381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85B3740C-9D86-4994-90FC-27ED92456A93}"/>
              </a:ext>
            </a:extLst>
          </p:cNvPr>
          <p:cNvSpPr txBox="1"/>
          <p:nvPr/>
        </p:nvSpPr>
        <p:spPr>
          <a:xfrm>
            <a:off x="7973860" y="2106483"/>
            <a:ext cx="120251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400"/>
              <a:t>Estimeret arealbehov</a:t>
            </a:r>
          </a:p>
        </p:txBody>
      </p:sp>
      <p:sp>
        <p:nvSpPr>
          <p:cNvPr id="6" name="Callout: Line 5">
            <a:extLst>
              <a:ext uri="{FF2B5EF4-FFF2-40B4-BE49-F238E27FC236}">
                <a16:creationId xmlns:a16="http://schemas.microsoft.com/office/drawing/2014/main" id="{48FE77F5-D584-4F35-AD0B-D3DB12BB672C}"/>
              </a:ext>
            </a:extLst>
          </p:cNvPr>
          <p:cNvSpPr/>
          <p:nvPr/>
        </p:nvSpPr>
        <p:spPr>
          <a:xfrm>
            <a:off x="2396322" y="1950698"/>
            <a:ext cx="2484000" cy="792000"/>
          </a:xfrm>
          <a:prstGeom prst="borderCallout1">
            <a:avLst>
              <a:gd name="adj1" fmla="val 100650"/>
              <a:gd name="adj2" fmla="val 50678"/>
              <a:gd name="adj3" fmla="val 318531"/>
              <a:gd name="adj4" fmla="val -1185"/>
            </a:avLst>
          </a:prstGeom>
          <a:solidFill>
            <a:schemeClr val="bg1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r>
              <a:rPr lang="da-DK" sz="1200">
                <a:solidFill>
                  <a:schemeClr val="tx1"/>
                </a:solidFill>
              </a:rPr>
              <a:t>Udvidelse til lav vækst scenariet og en realiseret basis vækst, vil skabe kapacitetsproblemer i 2034</a:t>
            </a:r>
            <a:endParaRPr lang="da-DK" sz="1200" noProof="0" err="1">
              <a:solidFill>
                <a:schemeClr val="tx1"/>
              </a:solidFill>
            </a:endParaRPr>
          </a:p>
        </p:txBody>
      </p:sp>
      <p:sp>
        <p:nvSpPr>
          <p:cNvPr id="24" name="Callout: Line 23">
            <a:extLst>
              <a:ext uri="{FF2B5EF4-FFF2-40B4-BE49-F238E27FC236}">
                <a16:creationId xmlns:a16="http://schemas.microsoft.com/office/drawing/2014/main" id="{08022002-EACB-4BF0-BF7C-BD7BD1FCD4D6}"/>
              </a:ext>
            </a:extLst>
          </p:cNvPr>
          <p:cNvSpPr/>
          <p:nvPr/>
        </p:nvSpPr>
        <p:spPr>
          <a:xfrm>
            <a:off x="5166975" y="1950698"/>
            <a:ext cx="2484000" cy="792000"/>
          </a:xfrm>
          <a:prstGeom prst="borderCallout1">
            <a:avLst>
              <a:gd name="adj1" fmla="val 100650"/>
              <a:gd name="adj2" fmla="val 50678"/>
              <a:gd name="adj3" fmla="val 203591"/>
              <a:gd name="adj4" fmla="val -3902"/>
            </a:avLst>
          </a:prstGeom>
          <a:solidFill>
            <a:schemeClr val="bg1"/>
          </a:solidFill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r>
              <a:rPr lang="da-DK" sz="1200">
                <a:solidFill>
                  <a:schemeClr val="tx1"/>
                </a:solidFill>
              </a:rPr>
              <a:t>Udvidelse til basis scenariet og en realiseret høj vækst, vil skabe kapacitetsproblemer i 2042</a:t>
            </a:r>
            <a:endParaRPr lang="da-DK" sz="1200" noProof="0">
              <a:solidFill>
                <a:schemeClr val="tx1"/>
              </a:solidFill>
            </a:endParaRPr>
          </a:p>
          <a:p>
            <a:endParaRPr lang="da-DK" sz="1200" noProof="0" err="1">
              <a:solidFill>
                <a:schemeClr val="tx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809DDC7-219A-4656-A4D1-C849E825A1C4}"/>
              </a:ext>
            </a:extLst>
          </p:cNvPr>
          <p:cNvSpPr txBox="1"/>
          <p:nvPr/>
        </p:nvSpPr>
        <p:spPr>
          <a:xfrm>
            <a:off x="9654300" y="2499178"/>
            <a:ext cx="153709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Udvidelse til høj vækstscenari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777EA33-9D2C-4D46-A47A-DF04920E3AF1}"/>
              </a:ext>
            </a:extLst>
          </p:cNvPr>
          <p:cNvSpPr txBox="1"/>
          <p:nvPr/>
        </p:nvSpPr>
        <p:spPr>
          <a:xfrm>
            <a:off x="9654300" y="3343493"/>
            <a:ext cx="153709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Udvidelse til basis scenari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F073CA4-6C4C-4915-B9AA-A1A736010EB5}"/>
              </a:ext>
            </a:extLst>
          </p:cNvPr>
          <p:cNvSpPr txBox="1"/>
          <p:nvPr/>
        </p:nvSpPr>
        <p:spPr>
          <a:xfrm>
            <a:off x="9654300" y="4274718"/>
            <a:ext cx="153709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Udvidelse til lav vækstscenarie</a:t>
            </a:r>
          </a:p>
        </p:txBody>
      </p:sp>
    </p:spTree>
    <p:extLst>
      <p:ext uri="{BB962C8B-B14F-4D97-AF65-F5344CB8AC3E}">
        <p14:creationId xmlns:p14="http://schemas.microsoft.com/office/powerpoint/2010/main" val="21110699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23315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1BCD693-4DBC-434C-BE42-FA9DC44FFC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1BCD693-4DBC-434C-BE42-FA9DC44FFC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F253637-5325-45F8-8A16-F0F7649CD1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Analysen tager udgangspunkt i Aarhus Havns fremtidige konkurrenceevne</a:t>
            </a:r>
          </a:p>
        </p:txBody>
      </p:sp>
      <p:sp>
        <p:nvSpPr>
          <p:cNvPr id="14" name="Rounded Rectangle 69">
            <a:extLst>
              <a:ext uri="{FF2B5EF4-FFF2-40B4-BE49-F238E27FC236}">
                <a16:creationId xmlns:a16="http://schemas.microsoft.com/office/drawing/2014/main" id="{32ADB7DE-FB31-4EAA-A482-B5C65458249F}"/>
              </a:ext>
            </a:extLst>
          </p:cNvPr>
          <p:cNvSpPr/>
          <p:nvPr/>
        </p:nvSpPr>
        <p:spPr>
          <a:xfrm>
            <a:off x="364540" y="2937724"/>
            <a:ext cx="3597860" cy="2815764"/>
          </a:xfrm>
          <a:prstGeom prst="rect">
            <a:avLst/>
          </a:prstGeom>
          <a:solidFill>
            <a:schemeClr val="bg1"/>
          </a:solidFill>
          <a:ln w="28575">
            <a:solidFill>
              <a:srgbClr val="009D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90000" rIns="90000" bIns="91440" rtlCol="0" anchor="t">
            <a:noAutofit/>
          </a:bodyPr>
          <a:lstStyle/>
          <a:p>
            <a:pPr defTabSz="457098" fontAlgn="base">
              <a:spcBef>
                <a:spcPct val="0"/>
              </a:spcBef>
              <a:spcAft>
                <a:spcPct val="0"/>
              </a:spcAft>
            </a:pPr>
            <a:r>
              <a:rPr lang="da-DK" sz="1600" b="1">
                <a:solidFill>
                  <a:srgbClr val="009DF0"/>
                </a:solidFill>
                <a:latin typeface="Verdana"/>
              </a:rPr>
              <a:t>Formål</a:t>
            </a:r>
          </a:p>
          <a:p>
            <a:pPr defTabSz="457098" fontAlgn="base">
              <a:spcBef>
                <a:spcPct val="0"/>
              </a:spcBef>
              <a:spcAft>
                <a:spcPct val="0"/>
              </a:spcAft>
            </a:pPr>
            <a:endParaRPr lang="da-DK" sz="1600" b="1">
              <a:solidFill>
                <a:srgbClr val="009DF0"/>
              </a:solidFill>
              <a:latin typeface="Verdana"/>
            </a:endParaRPr>
          </a:p>
          <a:p>
            <a:pPr defTabSz="457098" fontAlgn="base">
              <a:spcBef>
                <a:spcPct val="0"/>
              </a:spcBef>
              <a:spcAft>
                <a:spcPct val="0"/>
              </a:spcAft>
            </a:pPr>
            <a:r>
              <a:rPr lang="da-DK" sz="1600">
                <a:solidFill>
                  <a:schemeClr val="tx1"/>
                </a:solidFill>
                <a:latin typeface="Verdana"/>
              </a:rPr>
              <a:t>Rambøll Management Consulting har udarbejdet en markedsanalyse for Aarhus Havn, der har til formål at afdække det fremtidige behov for en havneudvidelse</a:t>
            </a:r>
          </a:p>
        </p:txBody>
      </p:sp>
      <p:sp>
        <p:nvSpPr>
          <p:cNvPr id="13" name="Rounded Rectangle 69">
            <a:extLst>
              <a:ext uri="{FF2B5EF4-FFF2-40B4-BE49-F238E27FC236}">
                <a16:creationId xmlns:a16="http://schemas.microsoft.com/office/drawing/2014/main" id="{8E31C7F6-252F-4FDA-A086-DB9BFF8ACB43}"/>
              </a:ext>
            </a:extLst>
          </p:cNvPr>
          <p:cNvSpPr/>
          <p:nvPr/>
        </p:nvSpPr>
        <p:spPr>
          <a:xfrm>
            <a:off x="4307890" y="2937724"/>
            <a:ext cx="3597860" cy="2815764"/>
          </a:xfrm>
          <a:prstGeom prst="rect">
            <a:avLst/>
          </a:prstGeom>
          <a:solidFill>
            <a:schemeClr val="bg1"/>
          </a:solidFill>
          <a:ln w="28575">
            <a:solidFill>
              <a:srgbClr val="009D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90000" rIns="90000" bIns="91440" rtlCol="0" anchor="t">
            <a:noAutofit/>
          </a:bodyPr>
          <a:lstStyle/>
          <a:p>
            <a:pPr defTabSz="457098" fontAlgn="base">
              <a:spcBef>
                <a:spcPct val="0"/>
              </a:spcBef>
              <a:spcAft>
                <a:spcPct val="0"/>
              </a:spcAft>
            </a:pPr>
            <a:r>
              <a:rPr lang="da-DK" sz="1600" b="1">
                <a:solidFill>
                  <a:srgbClr val="009DF0"/>
                </a:solidFill>
                <a:latin typeface="Verdana"/>
              </a:rPr>
              <a:t>Omfang</a:t>
            </a:r>
          </a:p>
          <a:p>
            <a:pPr defTabSz="457098" fontAlgn="base">
              <a:spcBef>
                <a:spcPct val="0"/>
              </a:spcBef>
              <a:spcAft>
                <a:spcPct val="0"/>
              </a:spcAft>
            </a:pPr>
            <a:endParaRPr lang="da-DK" sz="1600" b="1">
              <a:solidFill>
                <a:srgbClr val="009DF0"/>
              </a:solidFill>
              <a:latin typeface="Verdana"/>
            </a:endParaRPr>
          </a:p>
          <a:p>
            <a:pPr defTabSz="457098" fontAlgn="base">
              <a:spcBef>
                <a:spcPct val="0"/>
              </a:spcBef>
              <a:spcAft>
                <a:spcPct val="0"/>
              </a:spcAft>
            </a:pPr>
            <a:r>
              <a:rPr lang="da-DK" sz="1600">
                <a:solidFill>
                  <a:schemeClr val="tx1"/>
                </a:solidFill>
                <a:latin typeface="Verdana"/>
              </a:rPr>
              <a:t>Analysen omfatter udviklingen i de forskellige godstyper på Aarhus Havn samt generelle tendenser i markedet, for at kunne estimere det fremtidige behov for yderligere arealer</a:t>
            </a:r>
          </a:p>
        </p:txBody>
      </p:sp>
      <p:sp>
        <p:nvSpPr>
          <p:cNvPr id="15" name="Rounded Rectangle 69">
            <a:extLst>
              <a:ext uri="{FF2B5EF4-FFF2-40B4-BE49-F238E27FC236}">
                <a16:creationId xmlns:a16="http://schemas.microsoft.com/office/drawing/2014/main" id="{62632920-85CE-4239-9BF5-5BAD09BC23C6}"/>
              </a:ext>
            </a:extLst>
          </p:cNvPr>
          <p:cNvSpPr/>
          <p:nvPr/>
        </p:nvSpPr>
        <p:spPr>
          <a:xfrm>
            <a:off x="8251240" y="2937724"/>
            <a:ext cx="3597860" cy="2815764"/>
          </a:xfrm>
          <a:prstGeom prst="rect">
            <a:avLst/>
          </a:prstGeom>
          <a:solidFill>
            <a:schemeClr val="bg1"/>
          </a:solidFill>
          <a:ln w="28575">
            <a:solidFill>
              <a:srgbClr val="009DF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90000" rIns="90000" bIns="91440" rtlCol="0" anchor="t">
            <a:noAutofit/>
          </a:bodyPr>
          <a:lstStyle/>
          <a:p>
            <a:pPr defTabSz="457098" fontAlgn="base">
              <a:spcBef>
                <a:spcPct val="0"/>
              </a:spcBef>
              <a:spcAft>
                <a:spcPct val="0"/>
              </a:spcAft>
            </a:pPr>
            <a:r>
              <a:rPr lang="da-DK" sz="1600" b="1">
                <a:solidFill>
                  <a:srgbClr val="009DF0"/>
                </a:solidFill>
                <a:latin typeface="Verdana"/>
              </a:rPr>
              <a:t>Informationsgrundlag</a:t>
            </a:r>
          </a:p>
          <a:p>
            <a:pPr defTabSz="457098" fontAlgn="base">
              <a:spcBef>
                <a:spcPct val="0"/>
              </a:spcBef>
              <a:spcAft>
                <a:spcPct val="0"/>
              </a:spcAft>
            </a:pPr>
            <a:endParaRPr lang="da-DK" sz="1600" b="1">
              <a:solidFill>
                <a:srgbClr val="009DF0"/>
              </a:solidFill>
              <a:latin typeface="Verdana"/>
            </a:endParaRPr>
          </a:p>
          <a:p>
            <a:pPr defTabSz="457098" fontAlgn="base">
              <a:spcBef>
                <a:spcPct val="0"/>
              </a:spcBef>
              <a:spcAft>
                <a:spcPct val="0"/>
              </a:spcAft>
            </a:pPr>
            <a:r>
              <a:rPr lang="da-DK" sz="1600">
                <a:solidFill>
                  <a:schemeClr val="tx1"/>
                </a:solidFill>
                <a:latin typeface="Verdana"/>
              </a:rPr>
              <a:t>Analysen tager udgangspunkt i offentlig tilgængeligt materiale, samt yderligere materiale udleveret af Aarhus Havn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9D14CFF-EB07-48A0-ACE0-FF490A88376A}"/>
              </a:ext>
            </a:extLst>
          </p:cNvPr>
          <p:cNvGrpSpPr>
            <a:grpSpLocks/>
          </p:cNvGrpSpPr>
          <p:nvPr/>
        </p:nvGrpSpPr>
        <p:grpSpPr>
          <a:xfrm>
            <a:off x="9470798" y="1727192"/>
            <a:ext cx="1158744" cy="1158744"/>
            <a:chOff x="0" y="0"/>
            <a:chExt cx="914400" cy="9144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409F178-713A-49D4-A0C8-61D8404C3F3E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6AD3E43-8A25-4C84-9AD2-D36FEE41C75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/>
            <a:stretch/>
          </p:blipFill>
          <p:spPr>
            <a:xfrm>
              <a:off x="93507" y="93508"/>
              <a:ext cx="727385" cy="727385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D9EE517-D881-4DE9-B4C5-3292E7C2E084}"/>
              </a:ext>
            </a:extLst>
          </p:cNvPr>
          <p:cNvGrpSpPr>
            <a:grpSpLocks/>
          </p:cNvGrpSpPr>
          <p:nvPr/>
        </p:nvGrpSpPr>
        <p:grpSpPr>
          <a:xfrm>
            <a:off x="5564253" y="1774817"/>
            <a:ext cx="1063494" cy="1063494"/>
            <a:chOff x="0" y="0"/>
            <a:chExt cx="914400" cy="9144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4F1F63D-8BA3-424F-94AF-38F8F41FB9BE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968D629-931C-41C7-9A52-7AB27CCB12D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rcRect/>
            <a:stretch/>
          </p:blipFill>
          <p:spPr>
            <a:xfrm>
              <a:off x="93507" y="93508"/>
              <a:ext cx="727385" cy="727385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0E92EDC-930C-4C09-B4D3-7CBB42E9BABF}"/>
              </a:ext>
            </a:extLst>
          </p:cNvPr>
          <p:cNvGrpSpPr>
            <a:grpSpLocks/>
          </p:cNvGrpSpPr>
          <p:nvPr/>
        </p:nvGrpSpPr>
        <p:grpSpPr>
          <a:xfrm>
            <a:off x="1631723" y="1774818"/>
            <a:ext cx="1063493" cy="1063493"/>
            <a:chOff x="0" y="0"/>
            <a:chExt cx="914400" cy="9144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ED50A93-9B55-4EFF-B1CA-AEFD110CB800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016F509-1E79-4B57-80FD-7EAE0829E17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rcRect/>
            <a:stretch/>
          </p:blipFill>
          <p:spPr>
            <a:xfrm>
              <a:off x="93507" y="93508"/>
              <a:ext cx="727385" cy="7273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03752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6B0041-24FB-4E49-A594-9FF87E10EF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853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1" imgW="592" imgH="595" progId="TCLayout.ActiveDocument.1">
                  <p:embed/>
                </p:oleObj>
              </mc:Choice>
              <mc:Fallback>
                <p:oleObj name="think-cell Slide" r:id="rId71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6B0041-24FB-4E49-A594-9FF87E10EF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5322E8-8BA0-4428-B0F4-C35FACEF1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95% af arealerne på Aarhus Havn er udlejet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CEB9012-AD48-42E0-A0BE-3CB273B04F1B}"/>
              </a:ext>
            </a:extLst>
          </p:cNvPr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5265057" y="2862181"/>
            <a:ext cx="3778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ＭＳ Ｐゴシック" pitchFamily="-111" charset="-128"/>
              </a:defRPr>
            </a:lvl1pPr>
            <a:lvl2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2pPr>
            <a:lvl3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3pPr>
            <a:lvl4pPr marL="1386000" indent="-2844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4pPr>
            <a:lvl5pPr marL="1699200" indent="-2844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400" kern="1200">
                <a:solidFill>
                  <a:schemeClr val="tx1"/>
                </a:solidFill>
                <a:latin typeface="Verdana"/>
                <a:ea typeface="ＭＳ Ｐゴシック" pitchFamily="-111" charset="-128"/>
                <a:cs typeface="+mn-cs"/>
              </a:defRPr>
            </a:lvl5pPr>
            <a:lvl6pPr marL="2514537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45718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ct val="0"/>
              </a:spcAft>
              <a:buNone/>
            </a:pPr>
            <a:fld id="{9688D3BF-3006-477C-B973-5A1EC6CD2D32}" type="datetime'''4''''''''''''''''''''''''4''''''''''''''%'''''''''''">
              <a:rPr lang="da-DK" altLang="en-US" sz="1000" smtClean="0">
                <a:solidFill>
                  <a:schemeClr val="bg1"/>
                </a:solidFill>
                <a:cs typeface="+mn-cs"/>
              </a:rPr>
              <a:pPr marL="0" indent="0" algn="ctr">
                <a:spcAft>
                  <a:spcPct val="0"/>
                </a:spcAft>
                <a:buNone/>
              </a:pPr>
              <a:t>44%</a:t>
            </a:fld>
            <a:endParaRPr lang="da-DK" sz="1000" noProof="0">
              <a:solidFill>
                <a:schemeClr val="bg1"/>
              </a:solidFill>
              <a:latin typeface="+mn-lt"/>
              <a:ea typeface="ＭＳ Ｐゴシック" panose="020B0600070205080204" pitchFamily="34" charset="-128"/>
              <a:cs typeface="+mn-cs"/>
              <a:sym typeface="+mn-lt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1B35F6F-FC13-4005-AEA9-217B5275100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6946900" y="2863850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B792E9E0-CCBA-4B5F-A09A-31E5B55A23A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833563" y="3003550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650938CA-A4A5-492B-A1C5-D7D68EDE3A0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111500" y="2974975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741A5D49-C390-4C59-98E6-8975675F38F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4389437" y="2935288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3B1B2A5B-73C0-4F48-BD6E-34C69E87272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5667375" y="2903538"/>
            <a:ext cx="852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239AA745-53E8-4755-987C-B506FCFD953C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8224838" y="2863850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E9A86CD5-35FC-4DD1-B2E6-CE8D613C6230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9502775" y="2560638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475D0EF4-4081-4624-A267-005932708ECB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26794135"/>
              </p:ext>
            </p:extLst>
          </p:nvPr>
        </p:nvGraphicFramePr>
        <p:xfrm>
          <a:off x="898525" y="2409825"/>
          <a:ext cx="10390188" cy="1330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57394447-AAE4-48C5-BC84-5A9926F94FA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31838" y="3567113"/>
            <a:ext cx="96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F37DFDD-1967-4104-8A18-BF9FEBA65436}" type="datetime'''''''''''''''''''''''''''''''''''''''''''0'">
              <a:rPr lang="da-DK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a-DK" sz="1200" noProof="0"/>
          </a:p>
        </p:txBody>
      </p:sp>
      <p:sp>
        <p:nvSpPr>
          <p:cNvPr id="295" name="Text Placeholder 2">
            <a:extLst>
              <a:ext uri="{FF2B5EF4-FFF2-40B4-BE49-F238E27FC236}">
                <a16:creationId xmlns:a16="http://schemas.microsoft.com/office/drawing/2014/main" id="{3914DC75-B52D-45D5-BD10-2D52FD29ACA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85763" y="3178175"/>
            <a:ext cx="442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F2523DA-AFC2-4B54-8494-180EAE6C8717}" type="datetime'''''''''''''''''''''1''''''''''''.0''''''''''''''00'''''''">
              <a:rPr lang="da-DK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00</a:t>
            </a:fld>
            <a:endParaRPr lang="da-DK" sz="1200" noProof="0"/>
          </a:p>
        </p:txBody>
      </p:sp>
      <p:sp>
        <p:nvSpPr>
          <p:cNvPr id="297" name="Text Placeholder 2">
            <a:extLst>
              <a:ext uri="{FF2B5EF4-FFF2-40B4-BE49-F238E27FC236}">
                <a16:creationId xmlns:a16="http://schemas.microsoft.com/office/drawing/2014/main" id="{AEE79359-E602-40C8-9D13-A43D4B7BCEA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85763" y="2790825"/>
            <a:ext cx="442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F25D901-A5DE-4A34-B3E5-4DEF938257A2}" type="datetime'''''''''''2''''''''''''''''''''.''''''''''''0''''''00'">
              <a:rPr lang="da-DK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00</a:t>
            </a:fld>
            <a:endParaRPr lang="da-DK" sz="1200" noProof="0"/>
          </a:p>
        </p:txBody>
      </p:sp>
      <p:sp>
        <p:nvSpPr>
          <p:cNvPr id="299" name="Text Placeholder 2">
            <a:extLst>
              <a:ext uri="{FF2B5EF4-FFF2-40B4-BE49-F238E27FC236}">
                <a16:creationId xmlns:a16="http://schemas.microsoft.com/office/drawing/2014/main" id="{0DB4820D-6D52-4DF2-B7FC-DF00AD147C0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85763" y="2401888"/>
            <a:ext cx="442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0E6640F-E365-4E8A-85F5-C714A73E5F83}" type="datetime'''''''''''3''''''''.''0''''''''''''''''''''''''''''''''0''0'''">
              <a:rPr lang="da-DK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00</a:t>
            </a:fld>
            <a:endParaRPr lang="da-DK" sz="1200" noProof="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DC2F0E52-8599-4577-BF02-2CC96E0C7C8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791575" y="3708400"/>
            <a:ext cx="995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F01D28-FC02-4D0B-96EA-1463922A4F05}" type="datetime'I''nfra''''''''''''''''''struk''''''t''''''''''''''''u''''r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Infrastruktur</a:t>
            </a:fld>
            <a:endParaRPr lang="da-DK" sz="1200" noProof="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B3CAB51A-C84D-48E6-BAB2-36AF34B5C80E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84250" y="3708400"/>
            <a:ext cx="1270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6C7985-F456-4781-ACA3-729AE3BA1F7C}" type="datetime'''''''''U''''''d''''l''e''''''j''e''d''e'' ''ar''''eal''''er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dlejede arealer</a:t>
            </a:fld>
            <a:endParaRPr lang="da-DK" sz="1200" noProof="0"/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275A3245-38DD-46E6-8DAB-BA1A893CB33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008438" y="2863850"/>
            <a:ext cx="334963" cy="1825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B21D4D-00BA-4D6B-B825-A1901E5AD871}" type="datetime'''1''''0''''''''''''''''''3'''''''''''''''''''''''''''''">
              <a:rPr lang="da-DK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</a:t>
            </a:fld>
            <a:endParaRPr lang="da-DK" sz="1200" noProof="0">
              <a:solidFill>
                <a:schemeClr val="bg1"/>
              </a:solidFill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A0432216-E6F5-436C-A8E6-3862E80424B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778125" y="2898775"/>
            <a:ext cx="238125" cy="1825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2C0C8D-CFA1-4936-AF2A-C810483817A0}" type="datetime'7''''''''''''''''''''''''''''''''''''''''''''''''''''4'''''">
              <a:rPr lang="da-DK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4</a:t>
            </a:fld>
            <a:endParaRPr lang="da-DK" sz="1200" noProof="0">
              <a:solidFill>
                <a:schemeClr val="bg1"/>
              </a:solidFill>
            </a:endParaRPr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A6E6ADCC-6FCA-4DCB-A7FE-9A3FF30D435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506663" y="3708400"/>
            <a:ext cx="7826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2F11D6-C5AB-4B59-9550-10421F73BEFB}" type="datetime'K''o''''''nt''''or'''''' f''r''''''a ti''dl''ig''er''e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Kontor fra tidligere</a:t>
            </a:fld>
            <a:endParaRPr lang="da-DK" sz="1200" noProof="0"/>
          </a:p>
        </p:txBody>
      </p:sp>
      <p:sp>
        <p:nvSpPr>
          <p:cNvPr id="233" name="Text Placeholder 2">
            <a:extLst>
              <a:ext uri="{FF2B5EF4-FFF2-40B4-BE49-F238E27FC236}">
                <a16:creationId xmlns:a16="http://schemas.microsoft.com/office/drawing/2014/main" id="{3D3AB235-1775-4223-ADA6-18C326EF23E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608388" y="3708400"/>
            <a:ext cx="1135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FD4D2-8CC6-43C5-AAB5-8E7A6F6C9C85}" type="datetime'Opt''''''''''''i''''''on''s''a''''''''re''''a''''le''''''r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ptionsarealer</a:t>
            </a:fld>
            <a:endParaRPr lang="da-DK" sz="1200" noProof="0"/>
          </a:p>
        </p:txBody>
      </p:sp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669A9559-7BAE-4755-A6C8-89633526D6B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334000" y="2828925"/>
            <a:ext cx="238125" cy="18256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2E9741-181B-4816-8876-1366A97971B8}" type="datetime'''''''''''''''''''''''''''''''''''8''0'''''''''''''">
              <a:rPr lang="da-DK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da-DK" sz="1200" noProof="0">
              <a:solidFill>
                <a:schemeClr val="bg1"/>
              </a:solidFill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87503D53-5FF5-4C57-A874-C7E5E454673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064125" y="3708400"/>
            <a:ext cx="7778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F60DF7-4FCD-4FA7-B4F9-E7EFD504F2E0}" type="datetime'''H''a''''vnen''''''s'''''''''''''' byg''''ni''''''nge''r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avnens bygninger</a:t>
            </a:fld>
            <a:endParaRPr lang="da-DK" sz="1200" noProof="0"/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FDE3E5F1-1878-40F5-B3D0-C7C3C6FE179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121775" y="2620963"/>
            <a:ext cx="334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C8E6C3-D527-4696-A14D-BF4CBB5E03DF}" type="datetime'7''''''''''''8''''2'''''''''''''''''''''''''''''''''''''''''">
              <a:rPr lang="da-DK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82</a:t>
            </a:fld>
            <a:endParaRPr lang="da-DK" sz="1200" noProof="0">
              <a:solidFill>
                <a:schemeClr val="bg1"/>
              </a:solidFill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DDC3C200-6C50-415A-B12E-D70C16202B8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523038" y="3708400"/>
            <a:ext cx="419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6F3B04-3B22-4FC4-9C86-CFBC755A8E9B}" type="datetime'''''''''L''''''''''e''''''d''''''i''''''''''''''''''g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edig</a:t>
            </a:fld>
            <a:endParaRPr lang="da-DK" sz="1200" noProof="0"/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60FE8E0F-27D9-4D03-AD19-B0B9D2FCAB3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379075" y="3708400"/>
            <a:ext cx="376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726843-55C7-49E1-B185-361E34561141}" type="datetime'''T''''''''o''''''t''''''''''''''a''''''''''''''''''l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da-DK" sz="1200" noProof="0"/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70EBC8B7-06A7-4090-BB0C-A8F15C0507F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376363" y="2795588"/>
            <a:ext cx="487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DE2781-EF4F-499C-A559-DC223C16C3B5}" type="datetime'1''''''''.''''''''''''''''''''''6''''''''8''''4''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684</a:t>
            </a:fld>
            <a:endParaRPr lang="da-DK" sz="1200" noProof="0"/>
          </a:p>
        </p:txBody>
      </p:sp>
      <p:sp>
        <p:nvSpPr>
          <p:cNvPr id="194" name="Text Placeholder 2">
            <a:extLst>
              <a:ext uri="{FF2B5EF4-FFF2-40B4-BE49-F238E27FC236}">
                <a16:creationId xmlns:a16="http://schemas.microsoft.com/office/drawing/2014/main" id="{0C436006-3E89-4129-BF48-29EB782FF26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323513" y="2352675"/>
            <a:ext cx="487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0D8175-582A-49FF-BB4D-A16449436E66}" type="datetime'2''''.''''''''8''''2''''''''''''''''6''''''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826</a:t>
            </a:fld>
            <a:endParaRPr lang="da-DK" sz="1200" noProof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A6D9306-6EB3-4066-AC5A-F1D382C6AAA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651750" y="3708400"/>
            <a:ext cx="7191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FB5DD4-D3FF-42D2-8540-5DAD8FAF2C71}" type="datetime'T''ot''a''''''l'''' ''ti''''''l'''' ''u''''''dlej''''nin''''g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 til udlejning</a:t>
            </a:fld>
            <a:endParaRPr lang="da-DK" sz="1200" noProof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479B4E81-707B-4CB0-B9B3-9ACB4726B01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767638" y="2655888"/>
            <a:ext cx="487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E40AD7-3581-4A97-B302-4C0DC94FAF3C}" type="datetime'''2''''''''''''''''''''''''''''''''.04''''''4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44</a:t>
            </a:fld>
            <a:endParaRPr lang="da-DK" sz="1200" noProof="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7FFB565E-074A-4F6C-8EEE-5D1A1D2610C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565900" y="2792413"/>
            <a:ext cx="334963" cy="1825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881BE3-E660-4399-903E-0E740810D8DC}" type="datetime'''''''''''''''''''''''''''1''''''03''''''''''''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</a:t>
            </a:fld>
            <a:endParaRPr lang="da-DK" sz="1200" noProof="0"/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37CEE431-7E3B-49EE-88AE-DE0EC801E034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3241675" y="2163763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/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A1515EE6-CDE9-470B-B3F1-D33DDB2B625A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2468563" y="2163763"/>
            <a:ext cx="214313" cy="160338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/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11D27559-5F15-4235-A4C3-827F7C0AB509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674813" y="2163763"/>
            <a:ext cx="214313" cy="160338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/>
          </a:p>
        </p:txBody>
      </p:sp>
      <p:sp>
        <p:nvSpPr>
          <p:cNvPr id="237" name="Text Placeholder 2">
            <a:extLst>
              <a:ext uri="{FF2B5EF4-FFF2-40B4-BE49-F238E27FC236}">
                <a16:creationId xmlns:a16="http://schemas.microsoft.com/office/drawing/2014/main" id="{683757D3-A3E2-453F-8136-24079070944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939925" y="2159000"/>
            <a:ext cx="4270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BD991D2-ED51-4B00-B197-6ACA5D3CE530}" type="datetime'Be''''''''''''''s''a''''''''''''''''''''''''''''''''''''''''t'">
              <a:rPr lang="da-DK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esat</a:t>
            </a:fld>
            <a:endParaRPr lang="da-DK" sz="1200" noProof="0"/>
          </a:p>
        </p:txBody>
      </p:sp>
      <p:sp>
        <p:nvSpPr>
          <p:cNvPr id="239" name="Text Placeholder 2">
            <a:extLst>
              <a:ext uri="{FF2B5EF4-FFF2-40B4-BE49-F238E27FC236}">
                <a16:creationId xmlns:a16="http://schemas.microsoft.com/office/drawing/2014/main" id="{4E3F8BC2-DA08-4FD2-BA75-14D1C2B6058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733675" y="2159000"/>
            <a:ext cx="4064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152EEF-45BE-4A1B-846F-E41931E28FEE}" type="datetime'''''''''''''''''''''''''''''L''''''e''''''d''ig'''''''''''''">
              <a:rPr lang="da-DK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edig</a:t>
            </a:fld>
            <a:endParaRPr lang="da-DK" sz="1200" noProof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D4DA2E17-A0A2-4BFC-975C-D2B788F2DF4C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506788" y="2159000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16399D9-77F8-40C5-9D05-F8C428E2F687}" type="datetime'''''''''''''''''Tota''''''''''''''''''l'''''''''''''''''''''">
              <a:rPr lang="da-DK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da-DK" sz="1200" noProof="0"/>
          </a:p>
        </p:txBody>
      </p: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2E4BC13E-5431-4077-A70B-3F209F2172D0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1833563" y="5613400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5E6E6FF7-5B88-47B2-86DF-56E85FFBB370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3111500" y="5326063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BAE09F39-F248-474F-BBAB-9E7DD4E95925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>
            <a:off x="4389437" y="5253038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F03F109F-D01A-49EF-871A-8A9C1F94F3F5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5667375" y="5132388"/>
            <a:ext cx="8524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3BAD9CFD-4B56-4061-92C3-30BB6D4E1A52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6946900" y="5097463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28192A3F-F2FA-45E5-9CA4-4FCC822F2844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>
            <a:off x="9502775" y="4873625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069F673-FBD4-4623-B758-E392EE5D826F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8224838" y="4916488"/>
            <a:ext cx="8509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0" name="Chart 99">
            <a:extLst>
              <a:ext uri="{FF2B5EF4-FFF2-40B4-BE49-F238E27FC236}">
                <a16:creationId xmlns:a16="http://schemas.microsoft.com/office/drawing/2014/main" id="{B652A311-B805-4726-B886-447E71A68233}"/>
              </a:ext>
            </a:extLst>
          </p:cNvPr>
          <p:cNvGraphicFramePr/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452546885"/>
              </p:ext>
            </p:extLst>
          </p:nvPr>
        </p:nvGraphicFramePr>
        <p:xfrm>
          <a:off x="898525" y="4721225"/>
          <a:ext cx="10390188" cy="1377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sp>
        <p:nvSpPr>
          <p:cNvPr id="264" name="Text Placeholder 2">
            <a:extLst>
              <a:ext uri="{FF2B5EF4-FFF2-40B4-BE49-F238E27FC236}">
                <a16:creationId xmlns:a16="http://schemas.microsoft.com/office/drawing/2014/main" id="{B9AF690E-2A69-4F87-AD80-A6C48934B7A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31838" y="5926138"/>
            <a:ext cx="96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3E0A57B-39F1-43FF-98DD-D08C7C34360B}" type="datetime'''''''''0'''''''''''''''''''''''">
              <a:rPr lang="da-DK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a-DK" sz="1200" noProof="0"/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0FB6A061-6A58-43FB-94F4-5A924BF284B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85763" y="5521325"/>
            <a:ext cx="442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2F11CC0-905D-49FA-BAFC-BC9B8FE3B477}" type="datetime'''''''1''''''.''''''''''''0''''''''''0''''''''''''''0'''''''">
              <a:rPr lang="da-DK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000</a:t>
            </a:fld>
            <a:endParaRPr lang="da-DK" sz="1200" noProof="0"/>
          </a:p>
        </p:txBody>
      </p:sp>
      <p:sp>
        <p:nvSpPr>
          <p:cNvPr id="272" name="Text Placeholder 2">
            <a:extLst>
              <a:ext uri="{FF2B5EF4-FFF2-40B4-BE49-F238E27FC236}">
                <a16:creationId xmlns:a16="http://schemas.microsoft.com/office/drawing/2014/main" id="{186F7CC5-BCBA-4E7F-9EDB-7EEC9C5A4ED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85763" y="5118100"/>
            <a:ext cx="442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727F0D-EF9C-4D4F-B8E9-03F2850D47E1}" type="datetime'''2''''.''''''''''''''''''''''0''''''''''''0''''''0'''">
              <a:rPr lang="da-DK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00</a:t>
            </a:fld>
            <a:endParaRPr lang="da-DK" sz="1200" noProof="0"/>
          </a:p>
        </p:txBody>
      </p:sp>
      <p:sp>
        <p:nvSpPr>
          <p:cNvPr id="266" name="Text Placeholder 2">
            <a:extLst>
              <a:ext uri="{FF2B5EF4-FFF2-40B4-BE49-F238E27FC236}">
                <a16:creationId xmlns:a16="http://schemas.microsoft.com/office/drawing/2014/main" id="{56A98070-BF51-4BBE-BE86-B5D97750C21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85763" y="4713288"/>
            <a:ext cx="442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770397-3B29-4BB1-8538-DFD812B53BD0}" type="datetime'3''.''''''''''''''''''''''''''''''''00''''''''''''''''0'">
              <a:rPr lang="da-DK" altLang="en-US" sz="12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00</a:t>
            </a:fld>
            <a:endParaRPr lang="da-DK" sz="1200" noProof="0"/>
          </a:p>
        </p:txBody>
      </p:sp>
      <p:sp>
        <p:nvSpPr>
          <p:cNvPr id="275" name="Text Placeholder 2">
            <a:extLst>
              <a:ext uri="{FF2B5EF4-FFF2-40B4-BE49-F238E27FC236}">
                <a16:creationId xmlns:a16="http://schemas.microsoft.com/office/drawing/2014/main" id="{DD0ED29C-58A6-4488-8C5A-B5D20468783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008438" y="5199063"/>
            <a:ext cx="334963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CD6E47-4188-454B-987F-397ACF6BE5C9}" type="datetime'''''''1''''''''''7''''''''''''9''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9</a:t>
            </a:fld>
            <a:endParaRPr lang="da-DK" sz="1200" noProof="0"/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EFCDE512-E4F0-4C04-A1EF-B78017608D3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243013" y="6067425"/>
            <a:ext cx="754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200"/>
              <a:t>Container</a:t>
            </a:r>
          </a:p>
        </p:txBody>
      </p:sp>
      <p:sp>
        <p:nvSpPr>
          <p:cNvPr id="284" name="Text Placeholder 2">
            <a:extLst>
              <a:ext uri="{FF2B5EF4-FFF2-40B4-BE49-F238E27FC236}">
                <a16:creationId xmlns:a16="http://schemas.microsoft.com/office/drawing/2014/main" id="{11FAAFB8-E898-420A-956F-CE5DABACEA23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2546350" y="6067425"/>
            <a:ext cx="7016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06CA83-AC66-4B80-A7B0-D940258C4964}" type="datetime'F''''''''ast'' ''''''''''''b''''u''''''l''''''''k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ast bulk</a:t>
            </a:fld>
            <a:endParaRPr lang="da-DK" sz="1200" noProof="0"/>
          </a:p>
        </p:txBody>
      </p:sp>
      <p:sp>
        <p:nvSpPr>
          <p:cNvPr id="276" name="Text Placeholder 2">
            <a:extLst>
              <a:ext uri="{FF2B5EF4-FFF2-40B4-BE49-F238E27FC236}">
                <a16:creationId xmlns:a16="http://schemas.microsoft.com/office/drawing/2014/main" id="{F0F7921E-4AFF-4094-9117-7CABB2045C8D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730500" y="5378450"/>
            <a:ext cx="334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F30925-4DF9-4EC2-91CC-B43D3BBC5B4C}" type="datetime'''''''''''''7''''''''''''''''''''''1''1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1</a:t>
            </a:fld>
            <a:endParaRPr lang="da-DK" sz="1200" noProof="0"/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E643B5DC-DE00-4B7C-9F1D-F6D3B7AEB8A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3636963" y="6067425"/>
            <a:ext cx="1077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BA2594-EA01-46E6-8F48-BC2D76408F84}" type="datetime'''''Fl''yden''de'''''''' b''''''u''''''''l''''''''''k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lydende bulk</a:t>
            </a:fld>
            <a:endParaRPr lang="da-DK" sz="1200" noProof="0"/>
          </a:p>
        </p:txBody>
      </p:sp>
      <p:sp>
        <p:nvSpPr>
          <p:cNvPr id="289" name="Text Placeholder 2">
            <a:extLst>
              <a:ext uri="{FF2B5EF4-FFF2-40B4-BE49-F238E27FC236}">
                <a16:creationId xmlns:a16="http://schemas.microsoft.com/office/drawing/2014/main" id="{371FDDEC-0900-4887-A1A4-00CDF19D442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5286375" y="5102225"/>
            <a:ext cx="334963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2603A7-94A9-4DE3-B9A5-23C0A0EF1998}" type="datetime'''''2''''''''''''''''''''''''9''''''''''''''8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8</a:t>
            </a:fld>
            <a:endParaRPr lang="da-DK" sz="1200" noProof="0"/>
          </a:p>
        </p:txBody>
      </p:sp>
      <p:sp>
        <p:nvSpPr>
          <p:cNvPr id="280" name="Text Placeholder 2">
            <a:extLst>
              <a:ext uri="{FF2B5EF4-FFF2-40B4-BE49-F238E27FC236}">
                <a16:creationId xmlns:a16="http://schemas.microsoft.com/office/drawing/2014/main" id="{1CAC2EDF-5336-443C-AECF-A2264515E43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10323513" y="4665663"/>
            <a:ext cx="4873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6D6AE0-B9D7-47BE-9A93-08A350539643}" type="datetime'''''''''''''''''2''''''''''.8''''''''''''26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826</a:t>
            </a:fld>
            <a:endParaRPr lang="da-DK" sz="1200" noProof="0"/>
          </a:p>
        </p:txBody>
      </p:sp>
      <p:sp>
        <p:nvSpPr>
          <p:cNvPr id="278" name="Text Placeholder 2">
            <a:extLst>
              <a:ext uri="{FF2B5EF4-FFF2-40B4-BE49-F238E27FC236}">
                <a16:creationId xmlns:a16="http://schemas.microsoft.com/office/drawing/2014/main" id="{F5AC6188-CE06-4E16-A9C3-78E3DC00340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4968875" y="6067425"/>
            <a:ext cx="9683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200"/>
              <a:t>Ro-Ro* / PAX / Cruise</a:t>
            </a:r>
            <a:endParaRPr lang="da-DK" sz="1200" noProof="0"/>
          </a:p>
        </p:txBody>
      </p:sp>
      <p:sp>
        <p:nvSpPr>
          <p:cNvPr id="309" name="Text Placeholder 2">
            <a:extLst>
              <a:ext uri="{FF2B5EF4-FFF2-40B4-BE49-F238E27FC236}">
                <a16:creationId xmlns:a16="http://schemas.microsoft.com/office/drawing/2014/main" id="{CB2F151F-6854-46E2-A097-29AF367CB4B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613525" y="5024438"/>
            <a:ext cx="238125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77C2C5-323D-49CA-81A1-C991B76623AC}" type="datetime'8''''''''''''''''6'''''''''''''''''''''''''''''''''''''">
              <a:rPr lang="da-DK" altLang="en-US" sz="12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6</a:t>
            </a:fld>
            <a:endParaRPr lang="da-DK" sz="1200" noProof="0"/>
          </a:p>
        </p:txBody>
      </p:sp>
      <p:sp>
        <p:nvSpPr>
          <p:cNvPr id="291" name="Text Placeholder 2">
            <a:extLst>
              <a:ext uri="{FF2B5EF4-FFF2-40B4-BE49-F238E27FC236}">
                <a16:creationId xmlns:a16="http://schemas.microsoft.com/office/drawing/2014/main" id="{90D04983-F918-4D4F-AB77-0AE4F95E983A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780338" y="6067425"/>
            <a:ext cx="4603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841BFE-3413-42CA-B161-ECF52177E4C5}" type="datetime'''''''A''''''n''''''''''d''''''''''e''''''''''t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ndet</a:t>
            </a:fld>
            <a:endParaRPr lang="da-DK" sz="1200" noProof="0"/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5588388D-50B2-4F3B-9189-F921CD4EF411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6184900" y="6067425"/>
            <a:ext cx="10953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CC445A-69AB-4ED5-B86B-39A1BC28004A}" type="datetime'''A''''re''''a''l''''''u''''''''''''''''''''''dvik''''''ling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realudvikling</a:t>
            </a:fld>
            <a:endParaRPr lang="da-DK" sz="1200" noProof="0"/>
          </a:p>
        </p:txBody>
      </p:sp>
      <p:sp>
        <p:nvSpPr>
          <p:cNvPr id="290" name="Text Placeholder 2">
            <a:extLst>
              <a:ext uri="{FF2B5EF4-FFF2-40B4-BE49-F238E27FC236}">
                <a16:creationId xmlns:a16="http://schemas.microsoft.com/office/drawing/2014/main" id="{B0ECDE65-7161-4D50-A901-97A0460134A3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7843838" y="4916488"/>
            <a:ext cx="334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F26D7C-6BB6-49A8-AE3D-40265EB80D22}" type="datetime'''''''''''''''''''45''''''''''''''''''''''''''''''''1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1</a:t>
            </a:fld>
            <a:endParaRPr lang="da-DK" sz="1200" noProof="0"/>
          </a:p>
        </p:txBody>
      </p:sp>
      <p:sp>
        <p:nvSpPr>
          <p:cNvPr id="279" name="Text Placeholder 2">
            <a:extLst>
              <a:ext uri="{FF2B5EF4-FFF2-40B4-BE49-F238E27FC236}">
                <a16:creationId xmlns:a16="http://schemas.microsoft.com/office/drawing/2014/main" id="{EA3D182B-776B-41EB-8300-C8B7BEE92CBC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379075" y="6067425"/>
            <a:ext cx="3762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B32DC0-829E-4789-818E-B352D8FF1639}" type="datetime'''''''''''T''''''''''''''''''o''''''''''''''''t''''''''al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da-DK" sz="1200" noProof="0"/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1B6EE76D-A047-4631-939A-E8DFF7D05D84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9121775" y="4803775"/>
            <a:ext cx="334963" cy="182563"/>
          </a:xfrm>
          <a:prstGeom prst="rect">
            <a:avLst/>
          </a:prstGeom>
          <a:solidFill>
            <a:srgbClr val="CCEBFD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B5AA95-7FD8-42D9-BE43-4B97279B90E2}" type="datetime'''1''''0''''''''''''''''''''''''''3''''''''''''''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3</a:t>
            </a:fld>
            <a:endParaRPr lang="da-DK" sz="1200" noProof="0"/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92BB87BB-FE4E-44FC-BF38-2A09B2F3707F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452563" y="5405438"/>
            <a:ext cx="3349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08F9F3-0F18-49AB-BBD0-9604BD8D6E03}" type="datetime'''''''99''9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9</a:t>
            </a:fld>
            <a:endParaRPr lang="da-DK" sz="1200" noProof="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9B1EC2D8-DA19-4C3E-87EB-9094C2DAD6ED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078913" y="6067425"/>
            <a:ext cx="419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EB4908-6747-48CC-A010-0F99084C86EB}" type="datetime'''''L''ed''i''''''''''''''''''''''''''g'''''''''''">
              <a:rPr lang="da-DK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edig</a:t>
            </a:fld>
            <a:endParaRPr lang="da-DK" sz="1200" noProof="0"/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2A28BAB7-1E54-4BFE-B6F0-63D8EF35153C}"/>
              </a:ext>
            </a:extLst>
          </p:cNvPr>
          <p:cNvSpPr/>
          <p:nvPr/>
        </p:nvSpPr>
        <p:spPr>
          <a:xfrm>
            <a:off x="360000" y="1828801"/>
            <a:ext cx="7523999" cy="226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72000" bIns="36000" rtlCol="0" anchor="ctr"/>
          <a:lstStyle/>
          <a:p>
            <a:r>
              <a:rPr lang="da-DK" sz="1400" b="1">
                <a:solidFill>
                  <a:schemeClr val="tx1"/>
                </a:solidFill>
              </a:rPr>
              <a:t>Brug af arealer på Aarhus Havn 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6FE1F5B-EC3D-4866-8831-D5D6963BF829}"/>
              </a:ext>
            </a:extLst>
          </p:cNvPr>
          <p:cNvSpPr/>
          <p:nvPr/>
        </p:nvSpPr>
        <p:spPr>
          <a:xfrm>
            <a:off x="360000" y="4141242"/>
            <a:ext cx="7523999" cy="226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72000" bIns="36000" rtlCol="0" anchor="ctr"/>
          <a:lstStyle/>
          <a:p>
            <a:r>
              <a:rPr lang="da-DK" sz="1400" b="1">
                <a:solidFill>
                  <a:schemeClr val="tx1"/>
                </a:solidFill>
              </a:rPr>
              <a:t>Areal fordelt på forretningsområder (inkl. infrastruktur)</a:t>
            </a:r>
          </a:p>
        </p:txBody>
      </p:sp>
      <p:sp>
        <p:nvSpPr>
          <p:cNvPr id="91" name="Slide Number Placeholder 4">
            <a:extLst>
              <a:ext uri="{FF2B5EF4-FFF2-40B4-BE49-F238E27FC236}">
                <a16:creationId xmlns:a16="http://schemas.microsoft.com/office/drawing/2014/main" id="{BB4455CB-AEA7-44F7-96DB-9187AAD520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6800" y="6476400"/>
            <a:ext cx="626400" cy="108000"/>
          </a:xfrm>
        </p:spPr>
        <p:txBody>
          <a:bodyPr/>
          <a:lstStyle/>
          <a:p>
            <a:fld id="{31421AFA-3AE7-4CEA-BC9B-447859BED57B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94" name="Speech Bubble: Rectangle 93">
            <a:extLst>
              <a:ext uri="{FF2B5EF4-FFF2-40B4-BE49-F238E27FC236}">
                <a16:creationId xmlns:a16="http://schemas.microsoft.com/office/drawing/2014/main" id="{D9E3E5CD-7E42-42EE-9150-9A7C08BF5FEF}"/>
              </a:ext>
            </a:extLst>
          </p:cNvPr>
          <p:cNvSpPr/>
          <p:nvPr/>
        </p:nvSpPr>
        <p:spPr>
          <a:xfrm>
            <a:off x="6426196" y="4244854"/>
            <a:ext cx="2224092" cy="389527"/>
          </a:xfrm>
          <a:prstGeom prst="wedgeRectCallout">
            <a:avLst>
              <a:gd name="adj1" fmla="val 22306"/>
              <a:gd name="adj2" fmla="val 92116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400">
                <a:solidFill>
                  <a:schemeClr val="tx1"/>
                </a:solidFill>
              </a:rPr>
              <a:t>Kontor- og fællesareal</a:t>
            </a:r>
            <a:endParaRPr lang="da-DK" sz="1400" noProof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968AA01-9959-4232-979E-C24EF00B9ED7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1674813" y="4484688"/>
            <a:ext cx="214313" cy="160338"/>
          </a:xfrm>
          <a:prstGeom prst="rect">
            <a:avLst/>
          </a:prstGeom>
          <a:solidFill>
            <a:srgbClr val="CCEBFD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2908F2-5B90-44BB-858A-F086AA58B1D6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3490913" y="4484688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3A124098-D927-49A4-A996-EDA29A21507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939925" y="4479925"/>
            <a:ext cx="1449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200">
                <a:effectLst/>
              </a:rPr>
              <a:t>Forretningsområde</a:t>
            </a:r>
            <a:endParaRPr lang="da-DK" sz="1200" noProof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D17AE1E3-73AD-47DA-B47C-5EFD3E9C9782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756025" y="4479925"/>
            <a:ext cx="3635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41FE00E-2611-4894-B6E8-3CA170660BA4}" type="datetime'''''''To''''''''''''''''t''a''''''''''''''''''l'''''''''''">
              <a:rPr lang="da-DK" altLang="en-US" sz="12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da-DK" sz="1200" noProof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5C8E5F5-70DA-420B-8262-62B38AB51FC5}"/>
              </a:ext>
            </a:extLst>
          </p:cNvPr>
          <p:cNvSpPr txBox="1"/>
          <p:nvPr/>
        </p:nvSpPr>
        <p:spPr>
          <a:xfrm>
            <a:off x="358659" y="2099031"/>
            <a:ext cx="13684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Tusinde m</a:t>
            </a:r>
            <a:r>
              <a:rPr lang="da-DK" sz="1400" baseline="30000"/>
              <a:t>2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B26DDDA4-1C37-4E9E-BB4B-C5D184342A3C}"/>
              </a:ext>
            </a:extLst>
          </p:cNvPr>
          <p:cNvSpPr txBox="1"/>
          <p:nvPr/>
        </p:nvSpPr>
        <p:spPr>
          <a:xfrm>
            <a:off x="358659" y="4419440"/>
            <a:ext cx="136842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Tusinde m</a:t>
            </a:r>
            <a:r>
              <a:rPr lang="da-DK" sz="1400" baseline="30000"/>
              <a:t>2</a:t>
            </a:r>
          </a:p>
        </p:txBody>
      </p:sp>
      <p:sp>
        <p:nvSpPr>
          <p:cNvPr id="102" name="Speech Bubble: Rectangle 101">
            <a:extLst>
              <a:ext uri="{FF2B5EF4-FFF2-40B4-BE49-F238E27FC236}">
                <a16:creationId xmlns:a16="http://schemas.microsoft.com/office/drawing/2014/main" id="{0F575ACE-7C6A-4BA0-AC73-3EF30B891969}"/>
              </a:ext>
            </a:extLst>
          </p:cNvPr>
          <p:cNvSpPr/>
          <p:nvPr/>
        </p:nvSpPr>
        <p:spPr>
          <a:xfrm>
            <a:off x="6088720" y="1750196"/>
            <a:ext cx="1296222" cy="373111"/>
          </a:xfrm>
          <a:prstGeom prst="wedgeRectCallout">
            <a:avLst>
              <a:gd name="adj1" fmla="val -14800"/>
              <a:gd name="adj2" fmla="val 186767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400">
                <a:solidFill>
                  <a:schemeClr val="tx1"/>
                </a:solidFill>
              </a:rPr>
              <a:t>5% er ledige</a:t>
            </a:r>
            <a:endParaRPr lang="da-DK" sz="1400" noProof="0">
              <a:solidFill>
                <a:schemeClr val="tx1"/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0C72DF6-C193-4BB9-A388-3135A51A52B1}"/>
              </a:ext>
            </a:extLst>
          </p:cNvPr>
          <p:cNvSpPr txBox="1"/>
          <p:nvPr/>
        </p:nvSpPr>
        <p:spPr>
          <a:xfrm>
            <a:off x="895739" y="6543258"/>
            <a:ext cx="39126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/>
              <a:t>*Ro-Ro: Skibe med rullende last</a:t>
            </a:r>
          </a:p>
        </p:txBody>
      </p:sp>
    </p:spTree>
    <p:extLst>
      <p:ext uri="{BB962C8B-B14F-4D97-AF65-F5344CB8AC3E}">
        <p14:creationId xmlns:p14="http://schemas.microsoft.com/office/powerpoint/2010/main" val="35676524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16B0041-24FB-4E49-A594-9FF87E10EF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574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16B0041-24FB-4E49-A594-9FF87E10EF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5322E8-8BA0-4428-B0F4-C35FACEF1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</p:spPr>
        <p:txBody>
          <a:bodyPr vert="horz"/>
          <a:lstStyle/>
          <a:p>
            <a:r>
              <a:rPr lang="da-DK"/>
              <a:t>Containergods udgør den største og hurtigst voksende godstype på Aarhus Havn</a:t>
            </a:r>
            <a:endParaRPr lang="da-DK">
              <a:highlight>
                <a:srgbClr val="FFFF00"/>
              </a:highlight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4C8D4973-ECF5-46D5-9CA6-2D16AB4BF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21AFA-3AE7-4CEA-BC9B-447859BED57B}" type="slidenum">
              <a:rPr lang="da-DK" smtClean="0"/>
              <a:pPr/>
              <a:t>4</a:t>
            </a:fld>
            <a:endParaRPr lang="da-DK"/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9B136A48-7100-423E-98C0-E11AA39609C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99201"/>
              </p:ext>
            </p:extLst>
          </p:nvPr>
        </p:nvGraphicFramePr>
        <p:xfrm>
          <a:off x="307975" y="2733675"/>
          <a:ext cx="10326688" cy="3398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4950ABB-736A-4AA8-86F4-B400F1EFB7D0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106488" y="3690938"/>
            <a:ext cx="138113" cy="0"/>
          </a:xfrm>
          <a:prstGeom prst="line">
            <a:avLst/>
          </a:prstGeom>
          <a:ln w="76200" cap="rnd" cmpd="sng" algn="ctr">
            <a:solidFill>
              <a:srgbClr val="009DF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DB6ADF67-2351-4453-9A8B-76F663CCFA54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106488" y="2990850"/>
            <a:ext cx="138113" cy="0"/>
          </a:xfrm>
          <a:prstGeom prst="line">
            <a:avLst/>
          </a:prstGeom>
          <a:ln w="762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49F1FCB-8348-4B0B-8768-35A944D00A5E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1106488" y="3224213"/>
            <a:ext cx="138113" cy="0"/>
          </a:xfrm>
          <a:prstGeom prst="line">
            <a:avLst/>
          </a:prstGeom>
          <a:ln w="7620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E8F7227-3027-40F4-81C2-84FC10059A80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1106488" y="3457575"/>
            <a:ext cx="138113" cy="0"/>
          </a:xfrm>
          <a:prstGeom prst="line">
            <a:avLst/>
          </a:prstGeom>
          <a:ln w="7620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45DCC855-41C0-439E-BF3C-E58CC0AEDFF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33500" y="2906713"/>
            <a:ext cx="1065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222E54-6EF0-4910-9FC9-E0C1906ED83A}" type="datetime'Fly''''''''''d''''e''''''n''d''''''e'''''' bu''''''''l''k'''''">
              <a:rPr lang="da-DK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lydende bulk</a:t>
            </a:fld>
            <a:endParaRPr lang="da-DK" sz="1200" noProof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6AB3BBA-2FB5-42D8-837E-57CB684679D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33500" y="3140075"/>
            <a:ext cx="688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17F7EA0-1157-44DB-95E8-807BEA1E3166}" type="datetime'Fast'''''''''''''' ''''bu''l''''''''''''k'''''''''''''''''''">
              <a:rPr lang="da-DK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ast bulk</a:t>
            </a:fld>
            <a:endParaRPr lang="da-DK" sz="1200" noProof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00DB2017-252C-4A98-8B24-3DDEAA189FD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333500" y="3373438"/>
            <a:ext cx="1103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71911E-C727-4485-BEC9-17EE46757722}" type="datetime'C''''''''onta''''i''''ne''''''r''''''go''d''''''''s'">
              <a:rPr lang="da-DK" altLang="en-US" sz="12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ntainergods</a:t>
            </a:fld>
            <a:endParaRPr lang="da-DK" sz="1200" noProof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6EF4068A-CDF5-4536-BB3D-4CC8ACF8E9F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333500" y="3606800"/>
            <a:ext cx="16906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200"/>
              <a:t>Færgegods og Ro-Ro*</a:t>
            </a:r>
            <a:endParaRPr lang="da-DK" sz="1200" noProof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EFA88BC-8FF1-4945-81EB-38E82DD67270}"/>
              </a:ext>
            </a:extLst>
          </p:cNvPr>
          <p:cNvSpPr txBox="1"/>
          <p:nvPr/>
        </p:nvSpPr>
        <p:spPr>
          <a:xfrm>
            <a:off x="360000" y="2350537"/>
            <a:ext cx="278674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Tusind to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A862D9A-512B-46C8-BA01-391CA866A392}"/>
              </a:ext>
            </a:extLst>
          </p:cNvPr>
          <p:cNvSpPr txBox="1"/>
          <p:nvPr/>
        </p:nvSpPr>
        <p:spPr>
          <a:xfrm>
            <a:off x="895739" y="6543258"/>
            <a:ext cx="39126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/>
              <a:t>*Ro-Ro: Skibe med rullende las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DDF9AE0-BC2A-4EFB-8E52-BE7A27D68131}"/>
              </a:ext>
            </a:extLst>
          </p:cNvPr>
          <p:cNvSpPr txBox="1"/>
          <p:nvPr/>
        </p:nvSpPr>
        <p:spPr>
          <a:xfrm>
            <a:off x="10728458" y="2889772"/>
            <a:ext cx="78547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2000" b="1"/>
              <a:t>8,5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B2A6CC5-F6D7-440D-B3ED-B912CF551B62}"/>
              </a:ext>
            </a:extLst>
          </p:cNvPr>
          <p:cNvSpPr txBox="1"/>
          <p:nvPr/>
        </p:nvSpPr>
        <p:spPr>
          <a:xfrm>
            <a:off x="10728458" y="4052885"/>
            <a:ext cx="78547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2000" b="1"/>
              <a:t>0,6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8130FB2-331E-4B83-A61F-35E477D67B95}"/>
              </a:ext>
            </a:extLst>
          </p:cNvPr>
          <p:cNvSpPr txBox="1"/>
          <p:nvPr/>
        </p:nvSpPr>
        <p:spPr>
          <a:xfrm>
            <a:off x="10605027" y="4896523"/>
            <a:ext cx="90890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2000" b="1"/>
              <a:t>-1,0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4AEBCCA-C064-4825-B8D6-D71AEECC8544}"/>
              </a:ext>
            </a:extLst>
          </p:cNvPr>
          <p:cNvSpPr txBox="1"/>
          <p:nvPr/>
        </p:nvSpPr>
        <p:spPr>
          <a:xfrm>
            <a:off x="10605027" y="5413520"/>
            <a:ext cx="90890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2000" b="1"/>
              <a:t>-1,3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E4A6753-C7AE-4047-A542-02D88307805B}"/>
              </a:ext>
            </a:extLst>
          </p:cNvPr>
          <p:cNvSpPr txBox="1"/>
          <p:nvPr/>
        </p:nvSpPr>
        <p:spPr>
          <a:xfrm>
            <a:off x="10591491" y="2127061"/>
            <a:ext cx="105940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400" b="1"/>
              <a:t>Årlig vækstrate</a:t>
            </a:r>
          </a:p>
        </p:txBody>
      </p:sp>
      <p:sp>
        <p:nvSpPr>
          <p:cNvPr id="32" name="Speech Bubble: Rectangle 31">
            <a:extLst>
              <a:ext uri="{FF2B5EF4-FFF2-40B4-BE49-F238E27FC236}">
                <a16:creationId xmlns:a16="http://schemas.microsoft.com/office/drawing/2014/main" id="{CDD36690-55DF-47F4-8289-BD3C87524136}"/>
              </a:ext>
            </a:extLst>
          </p:cNvPr>
          <p:cNvSpPr/>
          <p:nvPr/>
        </p:nvSpPr>
        <p:spPr>
          <a:xfrm>
            <a:off x="5813334" y="1897418"/>
            <a:ext cx="2486841" cy="936000"/>
          </a:xfrm>
          <a:prstGeom prst="wedgeRectCallout">
            <a:avLst>
              <a:gd name="adj1" fmla="val 38729"/>
              <a:gd name="adj2" fmla="val 105631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da-DK" sz="1400" noProof="0">
                <a:solidFill>
                  <a:schemeClr val="tx1"/>
                </a:solidFill>
              </a:rPr>
              <a:t>Væksten i containergods er primært drevet af en øget trafik til Asien</a:t>
            </a:r>
          </a:p>
        </p:txBody>
      </p:sp>
    </p:spTree>
    <p:extLst>
      <p:ext uri="{BB962C8B-B14F-4D97-AF65-F5344CB8AC3E}">
        <p14:creationId xmlns:p14="http://schemas.microsoft.com/office/powerpoint/2010/main" val="18795725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>
            <a:extLst>
              <a:ext uri="{FF2B5EF4-FFF2-40B4-BE49-F238E27FC236}">
                <a16:creationId xmlns:a16="http://schemas.microsoft.com/office/drawing/2014/main" id="{804890CD-0FE4-481B-956D-72D2F28A9F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46" name="Object 45" hidden="1">
                        <a:extLst>
                          <a:ext uri="{FF2B5EF4-FFF2-40B4-BE49-F238E27FC236}">
                            <a16:creationId xmlns:a16="http://schemas.microsoft.com/office/drawing/2014/main" id="{804890CD-0FE4-481B-956D-72D2F28A9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3AD2E8F-ADB6-43C1-9923-6A800A3C9F3D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r="35787"/>
          <a:stretch/>
        </p:blipFill>
        <p:spPr>
          <a:xfrm>
            <a:off x="7748437" y="0"/>
            <a:ext cx="4443563" cy="685800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2A6DD0D7-7922-4E3B-A876-2D232184BD96}"/>
              </a:ext>
            </a:extLst>
          </p:cNvPr>
          <p:cNvSpPr/>
          <p:nvPr/>
        </p:nvSpPr>
        <p:spPr>
          <a:xfrm>
            <a:off x="9912087" y="3737814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F169CFE7-6703-442D-B7E1-A4FA816FFEB1}"/>
              </a:ext>
            </a:extLst>
          </p:cNvPr>
          <p:cNvSpPr/>
          <p:nvPr/>
        </p:nvSpPr>
        <p:spPr>
          <a:xfrm>
            <a:off x="9897245" y="3357553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E94B31E-DCD6-4D40-879B-030275FE3F5A}"/>
              </a:ext>
            </a:extLst>
          </p:cNvPr>
          <p:cNvSpPr/>
          <p:nvPr/>
        </p:nvSpPr>
        <p:spPr>
          <a:xfrm>
            <a:off x="10108544" y="3142494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6BFF557-3F0D-4E10-89AB-D8D686C99C5C}"/>
              </a:ext>
            </a:extLst>
          </p:cNvPr>
          <p:cNvSpPr/>
          <p:nvPr/>
        </p:nvSpPr>
        <p:spPr>
          <a:xfrm>
            <a:off x="10781606" y="3578722"/>
            <a:ext cx="144000" cy="144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7350A14-363C-4FE8-BFCA-6BE840152B42}"/>
              </a:ext>
            </a:extLst>
          </p:cNvPr>
          <p:cNvSpPr/>
          <p:nvPr/>
        </p:nvSpPr>
        <p:spPr>
          <a:xfrm>
            <a:off x="358775" y="1910938"/>
            <a:ext cx="3739999" cy="19562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201F267-049B-4623-AC36-D6BF06B17B6F}"/>
              </a:ext>
            </a:extLst>
          </p:cNvPr>
          <p:cNvSpPr/>
          <p:nvPr/>
        </p:nvSpPr>
        <p:spPr>
          <a:xfrm>
            <a:off x="358775" y="4158838"/>
            <a:ext cx="3739999" cy="19562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173F3B-12D4-4957-B99F-4CC47C57316A}"/>
              </a:ext>
            </a:extLst>
          </p:cNvPr>
          <p:cNvSpPr/>
          <p:nvPr/>
        </p:nvSpPr>
        <p:spPr>
          <a:xfrm>
            <a:off x="4414020" y="1910938"/>
            <a:ext cx="3739999" cy="19562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1C72D06-4464-4694-97DA-C23C468B7EF8}"/>
              </a:ext>
            </a:extLst>
          </p:cNvPr>
          <p:cNvSpPr/>
          <p:nvPr/>
        </p:nvSpPr>
        <p:spPr>
          <a:xfrm>
            <a:off x="4414020" y="4158838"/>
            <a:ext cx="3739999" cy="19562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D6AE7C1-22C8-4ACD-85E4-6914DB6F1BC7}"/>
              </a:ext>
            </a:extLst>
          </p:cNvPr>
          <p:cNvSpPr/>
          <p:nvPr/>
        </p:nvSpPr>
        <p:spPr>
          <a:xfrm>
            <a:off x="350824" y="1711100"/>
            <a:ext cx="1312507" cy="1929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400" b="1" noProof="0"/>
              <a:t>Aarhu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71DA4EF-B6A1-414E-BDD6-E56074A343F1}"/>
              </a:ext>
            </a:extLst>
          </p:cNvPr>
          <p:cNvSpPr/>
          <p:nvPr/>
        </p:nvSpPr>
        <p:spPr>
          <a:xfrm>
            <a:off x="352332" y="3964855"/>
            <a:ext cx="1312507" cy="1929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400" b="1" noProof="0"/>
              <a:t>Gdansk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C58026F-A98D-4943-81C2-05259BED0630}"/>
              </a:ext>
            </a:extLst>
          </p:cNvPr>
          <p:cNvSpPr/>
          <p:nvPr/>
        </p:nvSpPr>
        <p:spPr>
          <a:xfrm>
            <a:off x="4406646" y="1711100"/>
            <a:ext cx="1312507" cy="1929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400" b="1" noProof="0"/>
              <a:t>Hambor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4CB6E61-011D-479D-9C49-10040FA85FE7}"/>
              </a:ext>
            </a:extLst>
          </p:cNvPr>
          <p:cNvSpPr/>
          <p:nvPr/>
        </p:nvSpPr>
        <p:spPr>
          <a:xfrm>
            <a:off x="4406646" y="3964855"/>
            <a:ext cx="1312507" cy="19297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400" b="1" noProof="0"/>
              <a:t>Gøteborg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3F64D7F-2C8C-4A3A-A036-789E902341B6}"/>
              </a:ext>
            </a:extLst>
          </p:cNvPr>
          <p:cNvSpPr txBox="1"/>
          <p:nvPr/>
        </p:nvSpPr>
        <p:spPr>
          <a:xfrm>
            <a:off x="6409803" y="4228179"/>
            <a:ext cx="157321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000" b="1">
                <a:solidFill>
                  <a:srgbClr val="000000"/>
                </a:solidFill>
              </a:rPr>
              <a:t>Cargo mix </a:t>
            </a:r>
            <a:r>
              <a:rPr lang="da-DK" sz="1000">
                <a:solidFill>
                  <a:srgbClr val="000000"/>
                </a:solidFill>
              </a:rPr>
              <a:t>(2020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509F9AE-2EB4-4B58-80BD-7E439895A6C7}"/>
              </a:ext>
            </a:extLst>
          </p:cNvPr>
          <p:cNvSpPr txBox="1"/>
          <p:nvPr/>
        </p:nvSpPr>
        <p:spPr>
          <a:xfrm>
            <a:off x="2395984" y="4228179"/>
            <a:ext cx="157321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000" b="1">
                <a:solidFill>
                  <a:srgbClr val="000000"/>
                </a:solidFill>
              </a:rPr>
              <a:t>Cargo mix </a:t>
            </a:r>
            <a:r>
              <a:rPr lang="da-DK" sz="1000">
                <a:solidFill>
                  <a:srgbClr val="000000"/>
                </a:solidFill>
              </a:rPr>
              <a:t>(2020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6B1C6B2-2B43-42F2-9297-29970F32E266}"/>
              </a:ext>
            </a:extLst>
          </p:cNvPr>
          <p:cNvSpPr txBox="1"/>
          <p:nvPr/>
        </p:nvSpPr>
        <p:spPr>
          <a:xfrm>
            <a:off x="6409803" y="1958038"/>
            <a:ext cx="157321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000" b="1">
                <a:solidFill>
                  <a:srgbClr val="000000"/>
                </a:solidFill>
              </a:rPr>
              <a:t>Cargo mix </a:t>
            </a:r>
            <a:r>
              <a:rPr lang="da-DK" sz="1000">
                <a:solidFill>
                  <a:srgbClr val="000000"/>
                </a:solidFill>
              </a:rPr>
              <a:t>(2020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98D47AE-9BD0-4028-9EE0-773D6DE4CACF}"/>
              </a:ext>
            </a:extLst>
          </p:cNvPr>
          <p:cNvSpPr txBox="1"/>
          <p:nvPr/>
        </p:nvSpPr>
        <p:spPr>
          <a:xfrm>
            <a:off x="2395984" y="1958038"/>
            <a:ext cx="157321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000" b="1">
                <a:solidFill>
                  <a:srgbClr val="000000"/>
                </a:solidFill>
              </a:rPr>
              <a:t>Cargo mix </a:t>
            </a:r>
            <a:r>
              <a:rPr lang="da-DK" sz="1000">
                <a:solidFill>
                  <a:srgbClr val="000000"/>
                </a:solidFill>
              </a:rPr>
              <a:t>(2020)</a:t>
            </a:r>
          </a:p>
        </p:txBody>
      </p: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4C7BD89B-B026-4059-8FE3-CEC78B3AA227}"/>
              </a:ext>
            </a:extLst>
          </p:cNvPr>
          <p:cNvCxnSpPr>
            <a:cxnSpLocks/>
            <a:stCxn id="16" idx="3"/>
            <a:endCxn id="11" idx="0"/>
          </p:cNvCxnSpPr>
          <p:nvPr/>
        </p:nvCxnSpPr>
        <p:spPr>
          <a:xfrm flipV="1">
            <a:off x="8154019" y="3142494"/>
            <a:ext cx="2026525" cy="1994450"/>
          </a:xfrm>
          <a:prstGeom prst="bentConnector4">
            <a:avLst>
              <a:gd name="adj1" fmla="val 99895"/>
              <a:gd name="adj2" fmla="val 172"/>
            </a:avLst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D654C10E-6C6C-4C64-B62A-CDEF41FBD06B}"/>
              </a:ext>
            </a:extLst>
          </p:cNvPr>
          <p:cNvCxnSpPr>
            <a:cxnSpLocks/>
            <a:stCxn id="15" idx="3"/>
            <a:endCxn id="9" idx="4"/>
          </p:cNvCxnSpPr>
          <p:nvPr/>
        </p:nvCxnSpPr>
        <p:spPr>
          <a:xfrm>
            <a:off x="8154019" y="2889044"/>
            <a:ext cx="1830068" cy="992770"/>
          </a:xfrm>
          <a:prstGeom prst="bentConnector4">
            <a:avLst>
              <a:gd name="adj1" fmla="val 48033"/>
              <a:gd name="adj2" fmla="val 93314"/>
            </a:avLst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89D918AB-D0B3-405F-BE22-D6716B26CEA4}"/>
              </a:ext>
            </a:extLst>
          </p:cNvPr>
          <p:cNvCxnSpPr>
            <a:cxnSpLocks/>
            <a:stCxn id="13" idx="0"/>
            <a:endCxn id="10" idx="2"/>
          </p:cNvCxnSpPr>
          <p:nvPr/>
        </p:nvCxnSpPr>
        <p:spPr>
          <a:xfrm rot="16200000" flipH="1">
            <a:off x="5303702" y="-1163990"/>
            <a:ext cx="1518615" cy="7668470"/>
          </a:xfrm>
          <a:prstGeom prst="bentConnector4">
            <a:avLst>
              <a:gd name="adj1" fmla="val -17481"/>
              <a:gd name="adj2" fmla="val 100946"/>
            </a:avLst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6A8C3859-669A-45C7-9337-E715AA4AD27A}"/>
              </a:ext>
            </a:extLst>
          </p:cNvPr>
          <p:cNvCxnSpPr>
            <a:cxnSpLocks/>
            <a:stCxn id="14" idx="2"/>
            <a:endCxn id="12" idx="4"/>
          </p:cNvCxnSpPr>
          <p:nvPr/>
        </p:nvCxnSpPr>
        <p:spPr>
          <a:xfrm rot="5400000" flipH="1" flipV="1">
            <a:off x="5345026" y="606470"/>
            <a:ext cx="2392328" cy="8624831"/>
          </a:xfrm>
          <a:prstGeom prst="bentConnector3">
            <a:avLst>
              <a:gd name="adj1" fmla="val -4356"/>
            </a:avLst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E40445E-6782-4E22-B194-3A57B4BC9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Tre primære konkurrenter, som alle forbereder sig på øgede godsmængder </a:t>
            </a:r>
          </a:p>
        </p:txBody>
      </p:sp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ECE70C47-7766-4089-9E84-8118DA28CE8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2639562"/>
              </p:ext>
            </p:extLst>
          </p:nvPr>
        </p:nvGraphicFramePr>
        <p:xfrm>
          <a:off x="5881688" y="2178050"/>
          <a:ext cx="2395537" cy="140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95" name="Chart 94">
            <a:extLst>
              <a:ext uri="{FF2B5EF4-FFF2-40B4-BE49-F238E27FC236}">
                <a16:creationId xmlns:a16="http://schemas.microsoft.com/office/drawing/2014/main" id="{EA1A05DA-BAAC-499D-A9DB-67A2815B501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332124"/>
              </p:ext>
            </p:extLst>
          </p:nvPr>
        </p:nvGraphicFramePr>
        <p:xfrm>
          <a:off x="5883275" y="4481513"/>
          <a:ext cx="2395538" cy="140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graphicFrame>
        <p:nvGraphicFramePr>
          <p:cNvPr id="85" name="Chart 84">
            <a:extLst>
              <a:ext uri="{FF2B5EF4-FFF2-40B4-BE49-F238E27FC236}">
                <a16:creationId xmlns:a16="http://schemas.microsoft.com/office/drawing/2014/main" id="{97DE3A93-54ED-497D-BE07-C6F9C761153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5304216"/>
              </p:ext>
            </p:extLst>
          </p:nvPr>
        </p:nvGraphicFramePr>
        <p:xfrm>
          <a:off x="1854200" y="4481513"/>
          <a:ext cx="2395538" cy="140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45" name="Rectangle 44">
            <a:extLst>
              <a:ext uri="{FF2B5EF4-FFF2-40B4-BE49-F238E27FC236}">
                <a16:creationId xmlns:a16="http://schemas.microsoft.com/office/drawing/2014/main" id="{3D79E158-A108-40A2-9D8B-F5B415C61F7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728913" y="6307138"/>
            <a:ext cx="179388" cy="133350"/>
          </a:xfrm>
          <a:prstGeom prst="rect">
            <a:avLst/>
          </a:prstGeom>
          <a:solidFill>
            <a:srgbClr val="CCEBFD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1090748-0FF1-4168-8EAF-C3F8F4D8E2D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949700" y="6307138"/>
            <a:ext cx="179388" cy="133350"/>
          </a:xfrm>
          <a:prstGeom prst="rect">
            <a:avLst/>
          </a:prstGeom>
          <a:solidFill>
            <a:srgbClr val="009DF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0E5420C-A203-45A8-948A-177256FE275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862513" y="6307138"/>
            <a:ext cx="179388" cy="133350"/>
          </a:xfrm>
          <a:prstGeom prst="rect">
            <a:avLst/>
          </a:prstGeom>
          <a:solidFill>
            <a:srgbClr val="05326E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3538056-7FFD-4734-B9FE-C52A3FB79CCF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881688" y="6307138"/>
            <a:ext cx="179388" cy="133350"/>
          </a:xfrm>
          <a:prstGeom prst="rect">
            <a:avLst/>
          </a:prstGeom>
          <a:solidFill>
            <a:srgbClr val="ADD09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C98656A-A7BB-4CB4-B9FC-389B171CEC6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569075" y="6307138"/>
            <a:ext cx="179388" cy="133350"/>
          </a:xfrm>
          <a:prstGeom prst="rect">
            <a:avLst/>
          </a:prstGeom>
          <a:solidFill>
            <a:srgbClr val="125A4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4089D60D-9C5B-4642-9395-3C236DFE271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959100" y="6302375"/>
            <a:ext cx="889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50BB447-04F1-49ED-8CD3-2A38351616C9}" type="datetime'''''F''''lyd''''e''''''''''''''''''nde'' b''''''''u''''''lk'''">
              <a:rPr lang="da-DK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lydende bulk</a:t>
            </a:fld>
            <a:endParaRPr lang="da-DK" sz="1000" noProof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96CAC6C-BCDE-4823-A4DB-957CCF5D0E4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79888" y="6302375"/>
            <a:ext cx="5810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AAC082-9448-4492-A11C-4C374BD0FD0A}" type="datetime'''''''''''F''''a''''''''''''st'''''''''' ''''b''ul''''''k'''">
              <a:rPr lang="da-DK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ast bulk</a:t>
            </a:fld>
            <a:endParaRPr lang="da-DK" sz="1000" noProof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A50A1034-D78F-4FA4-ACA6-006F499F62E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092700" y="6302375"/>
            <a:ext cx="687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364AA9D-46E0-4A32-89C1-05C82C8B3C89}" type="datetime'C''o''''''''n''''t''''''''''a''''''''in''''''''e''r''s'''">
              <a:rPr lang="da-DK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ntainers</a:t>
            </a:fld>
            <a:endParaRPr lang="da-DK" sz="1000" noProof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DF7C78E7-8F6B-44EB-9768-4E2D04371A3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111875" y="6302375"/>
            <a:ext cx="35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882727-F5D0-481F-8BF6-51BB6F4353DF}" type="datetime'''''''''''''''''Ro-''''''r''''o'''''''''">
              <a:rPr lang="da-DK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o-ro</a:t>
            </a:fld>
            <a:endParaRPr lang="da-DK" sz="1000" noProof="0"/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2F60FFDC-0A85-4D95-8F80-88149EF0695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799263" y="6302375"/>
            <a:ext cx="3746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4B373D8-F190-4169-AA29-3BA552DE9E9C}" type="datetime'A''''''''n''''''''d''''''''''''''''''e''t'''''">
              <a:rPr lang="da-DK" altLang="en-US" sz="10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ndet</a:t>
            </a:fld>
            <a:endParaRPr lang="da-DK" sz="1000" noProof="0"/>
          </a:p>
        </p:txBody>
      </p:sp>
      <p:graphicFrame>
        <p:nvGraphicFramePr>
          <p:cNvPr id="124" name="Chart 123">
            <a:extLst>
              <a:ext uri="{FF2B5EF4-FFF2-40B4-BE49-F238E27FC236}">
                <a16:creationId xmlns:a16="http://schemas.microsoft.com/office/drawing/2014/main" id="{AFF5DB52-94AD-408C-958C-1EC80DC4C318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3478697"/>
              </p:ext>
            </p:extLst>
          </p:nvPr>
        </p:nvGraphicFramePr>
        <p:xfrm>
          <a:off x="1854200" y="2178050"/>
          <a:ext cx="2395538" cy="140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105" name="TextBox 104">
            <a:extLst>
              <a:ext uri="{FF2B5EF4-FFF2-40B4-BE49-F238E27FC236}">
                <a16:creationId xmlns:a16="http://schemas.microsoft.com/office/drawing/2014/main" id="{36976A0B-3760-4A01-AC3D-0C627B6AAD41}"/>
              </a:ext>
            </a:extLst>
          </p:cNvPr>
          <p:cNvSpPr txBox="1"/>
          <p:nvPr/>
        </p:nvSpPr>
        <p:spPr>
          <a:xfrm>
            <a:off x="4417495" y="2095870"/>
            <a:ext cx="1678505" cy="1692771"/>
          </a:xfrm>
          <a:prstGeom prst="rect">
            <a:avLst/>
          </a:prstGeom>
          <a:noFill/>
        </p:spPr>
        <p:txBody>
          <a:bodyPr wrap="square" lIns="9000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a-DK" sz="1000" b="1"/>
              <a:t>Størrelse:</a:t>
            </a:r>
            <a:r>
              <a:rPr lang="da-DK" sz="1000"/>
              <a:t> </a:t>
            </a:r>
            <a:br>
              <a:rPr lang="da-DK" sz="1000"/>
            </a:br>
            <a:r>
              <a:rPr lang="da-DK" sz="1000"/>
              <a:t>7.236 ha</a:t>
            </a:r>
            <a:endParaRPr lang="da-DK" sz="1000" b="1"/>
          </a:p>
          <a:p>
            <a:pPr>
              <a:spcAft>
                <a:spcPts val="600"/>
              </a:spcAft>
            </a:pPr>
            <a:r>
              <a:rPr lang="da-DK" sz="1000" b="1"/>
              <a:t>Udvidelsesplaner:</a:t>
            </a:r>
            <a:br>
              <a:rPr lang="da-DK" sz="1000" b="1"/>
            </a:br>
            <a:r>
              <a:rPr lang="da-DK" sz="1000"/>
              <a:t>Uddybning af sejlrende på mellem 1 og 1,9 meter, så et skib af </a:t>
            </a:r>
            <a:r>
              <a:rPr lang="da-DK" sz="1000" err="1"/>
              <a:t>Megamax</a:t>
            </a:r>
            <a:r>
              <a:rPr lang="da-DK" sz="1000"/>
              <a:t>-klassen kan transportere omkring 2.450 ekstra TEU </a:t>
            </a:r>
            <a:endParaRPr lang="da-DK" sz="1000" b="1"/>
          </a:p>
          <a:p>
            <a:endParaRPr lang="da-DK" sz="1000"/>
          </a:p>
        </p:txBody>
      </p:sp>
      <p:sp>
        <p:nvSpPr>
          <p:cNvPr id="106" name="Speech Bubble: Rectangle with Corners Rounded 105">
            <a:extLst>
              <a:ext uri="{FF2B5EF4-FFF2-40B4-BE49-F238E27FC236}">
                <a16:creationId xmlns:a16="http://schemas.microsoft.com/office/drawing/2014/main" id="{80C2FAD2-86DD-4CA9-B169-6E1E641B9A2D}"/>
              </a:ext>
            </a:extLst>
          </p:cNvPr>
          <p:cNvSpPr/>
          <p:nvPr/>
        </p:nvSpPr>
        <p:spPr>
          <a:xfrm>
            <a:off x="5903535" y="2159026"/>
            <a:ext cx="595766" cy="323966"/>
          </a:xfrm>
          <a:prstGeom prst="wedgeRoundRectCallout">
            <a:avLst>
              <a:gd name="adj1" fmla="val 42124"/>
              <a:gd name="adj2" fmla="val 69198"/>
              <a:gd name="adj3" fmla="val 16667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000" noProof="0"/>
              <a:t>8,5m TEU*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CBBFB31D-6D28-4368-9CAE-BAF3F90D1D45}"/>
              </a:ext>
            </a:extLst>
          </p:cNvPr>
          <p:cNvSpPr txBox="1"/>
          <p:nvPr/>
        </p:nvSpPr>
        <p:spPr>
          <a:xfrm>
            <a:off x="4417494" y="4327730"/>
            <a:ext cx="1896839" cy="2154436"/>
          </a:xfrm>
          <a:prstGeom prst="rect">
            <a:avLst/>
          </a:prstGeom>
          <a:noFill/>
        </p:spPr>
        <p:txBody>
          <a:bodyPr wrap="square" lIns="9000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a-DK" sz="1000" b="1"/>
              <a:t>Størrelse:</a:t>
            </a:r>
            <a:r>
              <a:rPr lang="da-DK" sz="1000"/>
              <a:t> </a:t>
            </a:r>
            <a:br>
              <a:rPr lang="da-DK" sz="1000"/>
            </a:br>
            <a:r>
              <a:rPr lang="da-DK" sz="1000"/>
              <a:t>1.250 ha</a:t>
            </a:r>
            <a:endParaRPr lang="da-DK" sz="1000" b="1"/>
          </a:p>
          <a:p>
            <a:pPr>
              <a:spcAft>
                <a:spcPts val="600"/>
              </a:spcAft>
            </a:pPr>
            <a:r>
              <a:rPr lang="da-DK" sz="1000" b="1"/>
              <a:t>Udvidelsesplaner:</a:t>
            </a:r>
            <a:br>
              <a:rPr lang="da-DK" sz="1000" b="1"/>
            </a:br>
            <a:r>
              <a:rPr lang="da-DK" sz="1000"/>
              <a:t>Jorderhvervelse på 10,8 hektar og ny terminal i Arendal som estimeres til at håndtere omkring 200.000 enheder om året Uddybning af kajerne og ny terminal samt investeringer i vej- og jernbaneadgang </a:t>
            </a:r>
            <a:br>
              <a:rPr lang="da-DK" sz="1000" b="1"/>
            </a:br>
            <a:endParaRPr lang="da-DK" sz="1000" b="1"/>
          </a:p>
          <a:p>
            <a:endParaRPr lang="da-DK" sz="1000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437CDD9A-C75E-4C5E-932E-770A0D86EAC0}"/>
              </a:ext>
            </a:extLst>
          </p:cNvPr>
          <p:cNvSpPr txBox="1"/>
          <p:nvPr/>
        </p:nvSpPr>
        <p:spPr>
          <a:xfrm>
            <a:off x="355156" y="2095870"/>
            <a:ext cx="1656300" cy="1077218"/>
          </a:xfrm>
          <a:prstGeom prst="rect">
            <a:avLst/>
          </a:prstGeom>
          <a:noFill/>
        </p:spPr>
        <p:txBody>
          <a:bodyPr wrap="square" lIns="9000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a-DK" sz="1000" b="1"/>
              <a:t>Størrelse:</a:t>
            </a:r>
            <a:r>
              <a:rPr lang="da-DK" sz="1000"/>
              <a:t> </a:t>
            </a:r>
            <a:br>
              <a:rPr lang="da-DK" sz="1000"/>
            </a:br>
            <a:r>
              <a:rPr lang="da-DK" sz="1000"/>
              <a:t>283 ha</a:t>
            </a:r>
          </a:p>
          <a:p>
            <a:pPr>
              <a:spcAft>
                <a:spcPts val="600"/>
              </a:spcAft>
            </a:pPr>
            <a:endParaRPr lang="da-DK" sz="1000" b="1"/>
          </a:p>
          <a:p>
            <a:pPr>
              <a:spcAft>
                <a:spcPts val="600"/>
              </a:spcAft>
            </a:pPr>
            <a:r>
              <a:rPr lang="da-DK" sz="1000" b="1"/>
              <a:t>Udvidelsesplaner:</a:t>
            </a:r>
            <a:br>
              <a:rPr lang="da-DK" sz="1000" b="1"/>
            </a:br>
            <a:r>
              <a:rPr lang="da-DK" sz="1000"/>
              <a:t>Udvidelse af havnen på ca. 100 hektar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C02D2706-6E24-4DA2-931A-56FB900FDE0B}"/>
              </a:ext>
            </a:extLst>
          </p:cNvPr>
          <p:cNvSpPr txBox="1"/>
          <p:nvPr/>
        </p:nvSpPr>
        <p:spPr>
          <a:xfrm>
            <a:off x="355155" y="4327730"/>
            <a:ext cx="1869826" cy="2000548"/>
          </a:xfrm>
          <a:prstGeom prst="rect">
            <a:avLst/>
          </a:prstGeom>
          <a:noFill/>
        </p:spPr>
        <p:txBody>
          <a:bodyPr wrap="square" lIns="9000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a-DK" sz="1000" b="1"/>
              <a:t>Størrelse:</a:t>
            </a:r>
            <a:r>
              <a:rPr lang="da-DK" sz="1000"/>
              <a:t> </a:t>
            </a:r>
            <a:br>
              <a:rPr lang="da-DK" sz="1000"/>
            </a:br>
            <a:r>
              <a:rPr lang="da-DK" sz="1000"/>
              <a:t>679 ha</a:t>
            </a:r>
            <a:endParaRPr lang="da-DK" sz="1000" b="1"/>
          </a:p>
          <a:p>
            <a:pPr>
              <a:spcAft>
                <a:spcPts val="600"/>
              </a:spcAft>
            </a:pPr>
            <a:r>
              <a:rPr lang="da-DK" sz="1000" b="1"/>
              <a:t>Udvidelsesplaner:</a:t>
            </a:r>
            <a:br>
              <a:rPr lang="da-DK" sz="1000" b="1"/>
            </a:br>
            <a:r>
              <a:rPr lang="da-DK" sz="1000"/>
              <a:t>Ny dybvandskaj som vil øge håndterings-kapaciteten med 1,5 mio. TEU, modernisering af havnekajer samt udvidelse på 6,5 hektarer samt 100 hektar, som ikke er udlejet</a:t>
            </a:r>
            <a:br>
              <a:rPr lang="da-DK" sz="1000" b="1"/>
            </a:br>
            <a:endParaRPr lang="da-DK" sz="1000" b="1"/>
          </a:p>
          <a:p>
            <a:endParaRPr lang="da-DK" sz="1000"/>
          </a:p>
        </p:txBody>
      </p:sp>
      <p:sp>
        <p:nvSpPr>
          <p:cNvPr id="54" name="Speech Bubble: Rectangle with Corners Rounded 53">
            <a:extLst>
              <a:ext uri="{FF2B5EF4-FFF2-40B4-BE49-F238E27FC236}">
                <a16:creationId xmlns:a16="http://schemas.microsoft.com/office/drawing/2014/main" id="{B64D694C-0C88-4457-9B9A-D61C2297A800}"/>
              </a:ext>
            </a:extLst>
          </p:cNvPr>
          <p:cNvSpPr/>
          <p:nvPr/>
        </p:nvSpPr>
        <p:spPr>
          <a:xfrm>
            <a:off x="5903535" y="4486985"/>
            <a:ext cx="595766" cy="323966"/>
          </a:xfrm>
          <a:prstGeom prst="wedgeRoundRectCallout">
            <a:avLst>
              <a:gd name="adj1" fmla="val 54501"/>
              <a:gd name="adj2" fmla="val 151142"/>
              <a:gd name="adj3" fmla="val 16667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000"/>
              <a:t>0,8m</a:t>
            </a:r>
            <a:r>
              <a:rPr lang="da-DK" sz="1000" noProof="0"/>
              <a:t> TEU*</a:t>
            </a:r>
          </a:p>
        </p:txBody>
      </p:sp>
      <p:sp>
        <p:nvSpPr>
          <p:cNvPr id="68" name="Speech Bubble: Rectangle with Corners Rounded 67">
            <a:extLst>
              <a:ext uri="{FF2B5EF4-FFF2-40B4-BE49-F238E27FC236}">
                <a16:creationId xmlns:a16="http://schemas.microsoft.com/office/drawing/2014/main" id="{2B582B12-A7E9-477D-A218-FC6DE9B75C50}"/>
              </a:ext>
            </a:extLst>
          </p:cNvPr>
          <p:cNvSpPr/>
          <p:nvPr/>
        </p:nvSpPr>
        <p:spPr>
          <a:xfrm>
            <a:off x="1882508" y="4486985"/>
            <a:ext cx="595766" cy="323966"/>
          </a:xfrm>
          <a:prstGeom prst="wedgeRoundRectCallout">
            <a:avLst>
              <a:gd name="adj1" fmla="val 42124"/>
              <a:gd name="adj2" fmla="val 69198"/>
              <a:gd name="adj3" fmla="val 16667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000"/>
              <a:t>2,1</a:t>
            </a:r>
            <a:r>
              <a:rPr lang="da-DK" sz="1000" noProof="0"/>
              <a:t>m TEU*</a:t>
            </a:r>
          </a:p>
        </p:txBody>
      </p:sp>
      <p:sp>
        <p:nvSpPr>
          <p:cNvPr id="69" name="Speech Bubble: Rectangle with Corners Rounded 68">
            <a:extLst>
              <a:ext uri="{FF2B5EF4-FFF2-40B4-BE49-F238E27FC236}">
                <a16:creationId xmlns:a16="http://schemas.microsoft.com/office/drawing/2014/main" id="{E5FFE967-0E21-4948-95FB-F045A5A73317}"/>
              </a:ext>
            </a:extLst>
          </p:cNvPr>
          <p:cNvSpPr/>
          <p:nvPr/>
        </p:nvSpPr>
        <p:spPr>
          <a:xfrm>
            <a:off x="1882508" y="2159026"/>
            <a:ext cx="595766" cy="323966"/>
          </a:xfrm>
          <a:prstGeom prst="wedgeRoundRectCallout">
            <a:avLst>
              <a:gd name="adj1" fmla="val 42124"/>
              <a:gd name="adj2" fmla="val 69198"/>
              <a:gd name="adj3" fmla="val 16667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a-DK" sz="1000"/>
              <a:t>0,6m</a:t>
            </a:r>
            <a:r>
              <a:rPr lang="da-DK" sz="1000" noProof="0"/>
              <a:t> TEU*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B7101E6-D1EF-4427-973C-2B4ECABD9C8B}"/>
              </a:ext>
            </a:extLst>
          </p:cNvPr>
          <p:cNvSpPr txBox="1"/>
          <p:nvPr/>
        </p:nvSpPr>
        <p:spPr>
          <a:xfrm>
            <a:off x="895739" y="6543258"/>
            <a:ext cx="39126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/>
              <a:t>*TEU: 1 TEU svarer til en 20 fodscontainers</a:t>
            </a:r>
          </a:p>
        </p:txBody>
      </p:sp>
    </p:spTree>
    <p:extLst>
      <p:ext uri="{BB962C8B-B14F-4D97-AF65-F5344CB8AC3E}">
        <p14:creationId xmlns:p14="http://schemas.microsoft.com/office/powerpoint/2010/main" val="37093482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029C205B-54EE-455D-8E1B-66701EF5CC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2008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029C205B-54EE-455D-8E1B-66701EF5CC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7281B48-ED19-4D66-A4FD-77ADFA79F0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Forventet stigning inden for alle godstyper - størst stigning inden for containertrafik</a:t>
            </a:r>
          </a:p>
        </p:txBody>
      </p:sp>
      <p:sp>
        <p:nvSpPr>
          <p:cNvPr id="65" name="Slide Number Placeholder 4">
            <a:extLst>
              <a:ext uri="{FF2B5EF4-FFF2-40B4-BE49-F238E27FC236}">
                <a16:creationId xmlns:a16="http://schemas.microsoft.com/office/drawing/2014/main" id="{E98DB37F-DE42-4F27-BEC4-4E01BF313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21AFA-3AE7-4CEA-BC9B-447859BED57B}" type="slidenum">
              <a:rPr lang="da-DK" smtClean="0"/>
              <a:pPr/>
              <a:t>6</a:t>
            </a:fld>
            <a:endParaRPr lang="da-DK"/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213E40DC-A8F1-4266-8841-0E80EE1FCCC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1290885"/>
              </p:ext>
            </p:extLst>
          </p:nvPr>
        </p:nvGraphicFramePr>
        <p:xfrm>
          <a:off x="385763" y="2635250"/>
          <a:ext cx="7400925" cy="3338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8134108A-44DE-4171-BA31-BD96CD6223E5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1646238" y="2268538"/>
            <a:ext cx="212725" cy="0"/>
          </a:xfrm>
          <a:prstGeom prst="line">
            <a:avLst/>
          </a:prstGeom>
          <a:ln w="38100" cap="rnd" cmpd="sng" algn="ctr">
            <a:solidFill>
              <a:srgbClr val="009DF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E984979-BA13-441F-B967-B269A097509C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1646238" y="2532063"/>
            <a:ext cx="212725" cy="0"/>
          </a:xfrm>
          <a:prstGeom prst="line">
            <a:avLst/>
          </a:prstGeom>
          <a:ln w="38100" cap="rnd" cmpd="sng" algn="ctr">
            <a:solidFill>
              <a:srgbClr val="CCEBFD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8FD32AF-ED04-46E2-8DF8-5E07D356594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2914650" y="2268538"/>
            <a:ext cx="212725" cy="0"/>
          </a:xfrm>
          <a:prstGeom prst="line">
            <a:avLst/>
          </a:prstGeom>
          <a:ln w="38100" cap="rnd" cmpd="sng" algn="ctr">
            <a:solidFill>
              <a:srgbClr val="05326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9306C19-27E8-45B3-9623-36A6305E3FB5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2914650" y="2532063"/>
            <a:ext cx="212725" cy="0"/>
          </a:xfrm>
          <a:prstGeom prst="line">
            <a:avLst/>
          </a:prstGeom>
          <a:ln w="38100" cap="rnd" cmpd="sng" algn="ctr">
            <a:solidFill>
              <a:srgbClr val="ADD09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4A608C6-79F9-45D7-AF71-549229618B8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651375" y="2268538"/>
            <a:ext cx="152400" cy="0"/>
          </a:xfrm>
          <a:prstGeom prst="line">
            <a:avLst/>
          </a:prstGeom>
          <a:ln w="38100" cap="rnd" cmpd="sng" algn="ctr">
            <a:solidFill>
              <a:schemeClr val="tx1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4872141D-297A-4434-83D0-C831FB6EDD1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928813" y="2170113"/>
            <a:ext cx="865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32A3AF-AFFF-4566-A3B1-9B0BB3EB40F6}" type="datetime'''C''''''on''''t''''''a''i''n''e''r''''''''''''''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ntainer</a:t>
            </a:fld>
            <a:endParaRPr lang="da-DK" sz="1400" noProof="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367DE64D-014D-4B02-AC71-492CA60DBF0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28813" y="2433638"/>
            <a:ext cx="801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244E04-47BD-4DF0-9E14-1904FC629518}" type="datetime'''''''''''F''''''a''''st'''''''' ''''bul''''''''''k''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ast bulk</a:t>
            </a:fld>
            <a:endParaRPr lang="da-DK" sz="1400" noProof="0"/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41B28429-8191-40A5-8396-6437CE59B39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197224" y="2433638"/>
            <a:ext cx="649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57F129-8F37-4B4C-AEDE-A7BE75E0B803}" type="datetime'''''''R''''''''''''''''''''''o''-''''''''''''''''''R''''o''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o-Ro</a:t>
            </a:fld>
            <a:r>
              <a:rPr lang="da-DK" altLang="en-US" sz="1400"/>
              <a:t>*</a:t>
            </a:r>
            <a:endParaRPr lang="da-DK" sz="1400" noProof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CC70712-2330-4017-9115-8623DFE27F8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03788" y="2170113"/>
            <a:ext cx="747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35A1D3-2AD6-41F0-B1F1-4B64F1E04186}" type="datetime'''F''''''''or''''''''''e''''''c''''a''''''''s''''''''t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orecast</a:t>
            </a:fld>
            <a:endParaRPr lang="da-DK" sz="1400" noProof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320A2A8C-CA79-4D0A-97E0-3BCB35CA819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197225" y="2170113"/>
            <a:ext cx="1303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30DB85-734C-4842-8E36-474B0BC972BF}" type="datetime'''''''Fl''''yde''''''''''''nde'''''''' ''''''b''ulk'' ''''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lydende bulk </a:t>
            </a:fld>
            <a:endParaRPr lang="da-DK" sz="1400" noProof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CCDEEF1-7F40-400A-9EFA-B3DAC39B17F4}"/>
              </a:ext>
            </a:extLst>
          </p:cNvPr>
          <p:cNvSpPr txBox="1"/>
          <p:nvPr/>
        </p:nvSpPr>
        <p:spPr>
          <a:xfrm>
            <a:off x="7290584" y="2780582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tx2"/>
                </a:solidFill>
              </a:rPr>
              <a:t>1,7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B6A80BA-BFCE-47E1-826E-DDFDD7129421}"/>
              </a:ext>
            </a:extLst>
          </p:cNvPr>
          <p:cNvSpPr txBox="1"/>
          <p:nvPr/>
        </p:nvSpPr>
        <p:spPr>
          <a:xfrm>
            <a:off x="7290584" y="4173612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tx2">
                    <a:lumMod val="60000"/>
                    <a:lumOff val="40000"/>
                  </a:schemeClr>
                </a:solidFill>
              </a:rPr>
              <a:t>1,1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FD09C2D-28C3-424E-B530-802EE5580AA7}"/>
              </a:ext>
            </a:extLst>
          </p:cNvPr>
          <p:cNvSpPr txBox="1"/>
          <p:nvPr/>
        </p:nvSpPr>
        <p:spPr>
          <a:xfrm>
            <a:off x="7290584" y="4836494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accent1"/>
                </a:solidFill>
              </a:rPr>
              <a:t>1,3%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CCA966D-0BAB-4A07-8B4E-3B3540F34510}"/>
              </a:ext>
            </a:extLst>
          </p:cNvPr>
          <p:cNvSpPr txBox="1"/>
          <p:nvPr/>
        </p:nvSpPr>
        <p:spPr>
          <a:xfrm>
            <a:off x="7290584" y="5243751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accent3"/>
                </a:solidFill>
              </a:rPr>
              <a:t>1,2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83100A-1E07-49F8-9334-C084CAF9CCD8}"/>
              </a:ext>
            </a:extLst>
          </p:cNvPr>
          <p:cNvSpPr txBox="1"/>
          <p:nvPr/>
        </p:nvSpPr>
        <p:spPr>
          <a:xfrm>
            <a:off x="7102321" y="2170113"/>
            <a:ext cx="100329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400"/>
              <a:t>Årlig vækstrate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72203FE-E86B-413B-85F1-FC09898BD087}"/>
              </a:ext>
            </a:extLst>
          </p:cNvPr>
          <p:cNvGrpSpPr>
            <a:grpSpLocks/>
          </p:cNvGrpSpPr>
          <p:nvPr/>
        </p:nvGrpSpPr>
        <p:grpSpPr>
          <a:xfrm>
            <a:off x="9363973" y="938908"/>
            <a:ext cx="1798427" cy="1798427"/>
            <a:chOff x="0" y="0"/>
            <a:chExt cx="914400" cy="914400"/>
          </a:xfrm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C075DA4-7FFE-43F5-B209-DAE1131E3AFF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64D99B71-67D5-49D6-9DA9-8ADF74EF49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rcRect/>
            <a:stretch/>
          </p:blipFill>
          <p:spPr>
            <a:xfrm>
              <a:off x="93507" y="93508"/>
              <a:ext cx="727385" cy="727385"/>
            </a:xfrm>
            <a:prstGeom prst="rect">
              <a:avLst/>
            </a:prstGeom>
          </p:spPr>
        </p:pic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3DC6157E-EC57-436F-9595-D9C6A810FC87}"/>
              </a:ext>
            </a:extLst>
          </p:cNvPr>
          <p:cNvSpPr txBox="1"/>
          <p:nvPr/>
        </p:nvSpPr>
        <p:spPr>
          <a:xfrm>
            <a:off x="8710080" y="2627313"/>
            <a:ext cx="3293125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600"/>
              <a:t>Rambøll har estimeret godsudviklingen i tre forskellige scenarier:</a:t>
            </a:r>
          </a:p>
          <a:p>
            <a:endParaRPr lang="da-DK" sz="16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/>
              <a:t>Basis scenar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/>
              <a:t>Høj vækstscenar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/>
              <a:t>Lav vækstscenar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/>
          </a:p>
          <a:p>
            <a:r>
              <a:rPr lang="da-DK" sz="1600"/>
              <a:t>Figuren til venstre præsenterer basis scenariet.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40AA2DE-89FD-476D-8C66-221FAD267819}"/>
              </a:ext>
            </a:extLst>
          </p:cNvPr>
          <p:cNvSpPr txBox="1"/>
          <p:nvPr/>
        </p:nvSpPr>
        <p:spPr>
          <a:xfrm>
            <a:off x="360000" y="2336507"/>
            <a:ext cx="14807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Tusind t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94A3731-E930-488F-9CE3-75B38C78ADC7}"/>
              </a:ext>
            </a:extLst>
          </p:cNvPr>
          <p:cNvSpPr txBox="1"/>
          <p:nvPr/>
        </p:nvSpPr>
        <p:spPr>
          <a:xfrm>
            <a:off x="895739" y="6543258"/>
            <a:ext cx="39126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/>
              <a:t>*Ro-Ro: Skibe med rullende last</a:t>
            </a:r>
          </a:p>
        </p:txBody>
      </p:sp>
    </p:spTree>
    <p:extLst>
      <p:ext uri="{BB962C8B-B14F-4D97-AF65-F5344CB8AC3E}">
        <p14:creationId xmlns:p14="http://schemas.microsoft.com/office/powerpoint/2010/main" val="29107507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B095BE-AC90-4557-998E-D6445BF99A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3464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360" imgH="360" progId="TCLayout.ActiveDocument.1">
                  <p:embed/>
                </p:oleObj>
              </mc:Choice>
              <mc:Fallback>
                <p:oleObj name="think-cell Slide" r:id="rId50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B095BE-AC90-4557-998E-D6445BF99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207BC72-71A3-440B-B49E-912F32D7A798}"/>
              </a:ext>
            </a:extLst>
          </p:cNvPr>
          <p:cNvSpPr/>
          <p:nvPr/>
        </p:nvSpPr>
        <p:spPr>
          <a:xfrm>
            <a:off x="7335672" y="1828800"/>
            <a:ext cx="4856328" cy="5029200"/>
          </a:xfrm>
          <a:prstGeom prst="rect">
            <a:avLst/>
          </a:prstGeom>
          <a:solidFill>
            <a:srgbClr val="C9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2ADF54-785E-4D59-8A81-9606406AF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</p:spPr>
        <p:txBody>
          <a:bodyPr vert="horz"/>
          <a:lstStyle/>
          <a:p>
            <a:r>
              <a:rPr lang="da-DK"/>
              <a:t>Aarhus Havn har ramt fuld kapacitet på containertrafik, som de seneste 20 år er vokset 4,2% årligt</a:t>
            </a:r>
          </a:p>
        </p:txBody>
      </p:sp>
      <p:sp>
        <p:nvSpPr>
          <p:cNvPr id="59" name="Slide Number Placeholder 3">
            <a:extLst>
              <a:ext uri="{FF2B5EF4-FFF2-40B4-BE49-F238E27FC236}">
                <a16:creationId xmlns:a16="http://schemas.microsoft.com/office/drawing/2014/main" id="{B6946161-B343-49F1-91E3-DEEB50B20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7</a:t>
            </a:fld>
            <a:endParaRPr lang="da-DK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A05C0DA-EE92-4647-988B-BC8D44BEC070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1114425" y="25304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4DEEACC-08E3-4060-BF00-5884080BC048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114425" y="35956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3C1E35D-6ED7-4EE9-8042-EBE997EA606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1114425" y="32400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AE325C9-D323-4497-803B-1833BBD0CA9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1114425" y="55991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C749478-0749-4B8C-A237-CC4025C5080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1114425" y="50149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DBFB322-AD97-4E66-A456-281F22F9685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1114425" y="46609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F3785B8-457E-431D-8881-127070539BD2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1114425" y="43053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2ED2E4E-DFCB-4E21-88A3-D914D28DC4FB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1114425" y="39512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0A63118-EB7A-4E64-BBEC-591A1908B67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1114425" y="28860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3" name="Chart 92">
            <a:extLst>
              <a:ext uri="{FF2B5EF4-FFF2-40B4-BE49-F238E27FC236}">
                <a16:creationId xmlns:a16="http://schemas.microsoft.com/office/drawing/2014/main" id="{70537417-28B8-4996-ACBB-6ECE342A2BAF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90062518"/>
              </p:ext>
            </p:extLst>
          </p:nvPr>
        </p:nvGraphicFramePr>
        <p:xfrm>
          <a:off x="1090613" y="2447925"/>
          <a:ext cx="5573712" cy="3233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A8A072D6-FC78-40DB-A43C-55B478E1F3F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149475" y="5716588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2DE09D-D779-4299-8A0A-77A0E41B717A}" type="datetime'''2''''''''''''''''''''''0''2''''''''0'''">
              <a:rPr lang="da-DK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da-DK" sz="1400" noProof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FEF501CF-934A-431D-BA9F-D3D83932716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54613" y="5716588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BF00F4-A133-4BD8-B7DB-0975996C118A}" type="datetime'''''''''''''''''''''2''''0''''''''''''''''''''4''5'''''''">
              <a:rPr lang="da-DK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5</a:t>
            </a:fld>
            <a:endParaRPr lang="da-DK" sz="1400" noProof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28667368-74DC-42C0-846A-04036AA84D4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751138" y="5716588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5EDE6B-E7E3-41D8-8236-5DADC72A6E28}" type="datetime'''''''''''''2''''0''''''''''''''''25'''">
              <a:rPr lang="da-DK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da-DK" sz="1400" noProof="0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BEBF78F-7B36-408B-9CBF-7A8FF6B2E77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552950" y="5716588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3EDA69-501E-472C-9F37-B5D4AC2E6048}" type="datetime'''2''''''''''''''''0''''''''4''''''''''''''''''''''''''''0'''">
              <a:rPr lang="da-DK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40</a:t>
            </a:fld>
            <a:endParaRPr lang="da-DK" sz="1400" noProof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FD82DEA5-380A-47DC-BDA2-57687AF5381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754688" y="5716588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F08C08-EBC5-4A72-9EA8-3DE1C1ADF341}" type="datetime'''''''''''''''''2''''''''''''''0''5''''''''''''''''0'''''''''">
              <a:rPr lang="da-DK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50</a:t>
            </a:fld>
            <a:endParaRPr lang="da-DK" sz="1400" noProof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7635AF9B-40B6-4263-B508-53AFB720E55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356350" y="5716588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20203C-ED50-4E3C-A9DF-772039EC0E3E}" type="datetime'''''2''''''''''''''''0''''''''5''''''5'''''''">
              <a:rPr lang="da-DK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55</a:t>
            </a:fld>
            <a:endParaRPr lang="da-DK" sz="1400" noProof="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1F61B494-87E4-42B0-B8B8-6E3B363635B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68300" y="2779714"/>
            <a:ext cx="628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DE96DEC-1961-4C53-9237-4D3D6A623C0D}" type="datetime'''''''''''''''''''''10''.0''0''''''''''''''0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.000</a:t>
            </a:fld>
            <a:endParaRPr lang="da-DK" sz="1400" noProof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E01F89C6-BFCE-49AC-8945-7B8573519AC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1013" y="3489326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8B0A52-F5B4-4CBF-A9ED-A18BACA8B0C5}" type="datetime'''''''''8''''.''''''''''''''''00''''0''''''''''''''''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.000</a:t>
            </a:fld>
            <a:endParaRPr lang="da-DK" sz="1400" noProof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8E4C72EA-1B7D-422B-9961-7B092F3196BD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52875" y="5716588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76FA0D-8D82-441B-B425-329A2032EF49}" type="datetime'''''''''''''''2''0''''''''''''''''''''''''''3''''''''5'''''">
              <a:rPr lang="da-DK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35</a:t>
            </a:fld>
            <a:endParaRPr lang="da-DK" sz="1400" noProof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2DB801A8-6EA1-4F39-82E6-C269E084883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81013" y="4554539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9832FF7-B303-401F-9CC7-49BF63DE737A}" type="datetime'''''''''5''.''''''''''''''''''''''''''''''''0''0''''0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.000</a:t>
            </a:fld>
            <a:endParaRPr lang="da-DK" sz="1400" noProof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4CA62742-39CE-49DC-854A-9639DEB3A9A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81013" y="4908551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3A92422-B0A1-49E8-AAB3-9DDBFF502EFD}" type="datetime'''''''''''''''''''4.''''''''''''''''''''''00''''''''0''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000</a:t>
            </a:fld>
            <a:endParaRPr lang="da-DK" sz="1400" noProof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5FB0CE1B-C196-44CB-8897-D21A6D01EE3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81013" y="4198939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26ADCD0-C59A-46D7-B5CA-00341E83838B}" type="datetime'''''''''''6''''''''.0''''''''''0''''''''0''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.000</a:t>
            </a:fld>
            <a:endParaRPr lang="da-DK" sz="1400" noProof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6E63EB49-3E85-4616-8DDE-3769F958B2D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81013" y="3844926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7C204C9-407B-4D28-ABFF-665B3EF431A1}" type="datetime'''7''''''''''''.''''''''0''''''''''''''''0''''0''''''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.000</a:t>
            </a:fld>
            <a:endParaRPr lang="da-DK" sz="1400" noProof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711E03D3-28B3-4A50-9842-F6B496DB2749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81013" y="3133726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4E21CE-0974-4EF1-BD79-0937C1854DED}" type="datetime'9''''''''.''''''''''''''''''0''''''''''''''''0''''''''0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.000</a:t>
            </a:fld>
            <a:endParaRPr lang="da-DK" sz="1400" noProof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F7EDDED2-23FA-4CA3-B12C-B9916F7E1AD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68300" y="2424114"/>
            <a:ext cx="628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16618BB-AA7B-4888-9744-E7C4DFE2EA09}" type="datetime'''''''''''11''''''.''0''''''''''0''''0''''''''''''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.000</a:t>
            </a:fld>
            <a:endParaRPr lang="da-DK" sz="1400" noProof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D452CC61-904E-4938-BFE1-6578C7932D3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84238" y="5492751"/>
            <a:ext cx="112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D28DF2-C0DA-4096-BF60-D07C30B7AF7C}" type="datetime'''''''''''''''''''''''''''''''''''''''''0''''''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a-DK" sz="1400" noProof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F4D4D9B1-6D86-4DA5-9CFF-B951E8E5A88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47738" y="5716588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ECA3C0-55A7-4435-B3BD-6CB6894E85C8}" type="datetime'''''''2''''''''''''''''''''''''''''''''''''01''''''0'''">
              <a:rPr lang="da-DK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da-DK" sz="1400" noProof="0"/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D950CF1-7D04-4680-A7B6-8A0F1B4F694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351213" y="5716588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400">
                <a:effectLst/>
              </a:rPr>
              <a:t>2030</a:t>
            </a:r>
            <a:endParaRPr lang="da-DK" sz="1400" noProof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CBA920A2-65BC-4E90-9B9E-70ADBBC9BFD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549400" y="5716588"/>
            <a:ext cx="450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D809C1-47FD-4492-A451-83C81C4EE6EC}" type="datetime'''''''''20''''''''''''''1''5'''''''''''''''''''''''''''">
              <a:rPr lang="da-DK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da-DK" sz="1400" noProof="0"/>
          </a:p>
        </p:txBody>
      </p:sp>
      <p:sp useBgFill="1">
        <p:nvSpPr>
          <p:cNvPr id="19" name="Freeform: Shape 18">
            <a:extLst>
              <a:ext uri="{FF2B5EF4-FFF2-40B4-BE49-F238E27FC236}">
                <a16:creationId xmlns:a16="http://schemas.microsoft.com/office/drawing/2014/main" id="{5FD5594A-6129-4A75-AAAA-AA32A2781F61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100138" y="54864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CFD6776-D325-4FF9-B969-FF77CB241732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100138" y="54864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27C837C-F871-4581-AB5F-071880A539F0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1100138" y="55435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EF15C41-FFE4-43A2-816B-5D1128A7890C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 flipV="1">
            <a:off x="2616200" y="3225800"/>
            <a:ext cx="1201738" cy="603250"/>
          </a:xfrm>
          <a:prstGeom prst="line">
            <a:avLst/>
          </a:prstGeom>
          <a:ln w="28575" cap="flat" cmpd="sng" algn="ctr">
            <a:solidFill>
              <a:srgbClr val="009DF0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A400AA1-EA96-4606-AEF1-37B21672F336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 flipV="1">
            <a:off x="3817938" y="2636838"/>
            <a:ext cx="2403475" cy="588963"/>
          </a:xfrm>
          <a:prstGeom prst="line">
            <a:avLst/>
          </a:prstGeom>
          <a:ln w="28575" cap="flat" cmpd="sng" algn="ctr">
            <a:solidFill>
              <a:srgbClr val="009DF0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10E2F9B3-9599-40B0-B489-992A392EB95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724150" y="3376613"/>
            <a:ext cx="985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9DF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2882AB-1AA5-4479-80A6-D66DC48BA0F3}" type="datetime'''+''2'''''''''',''''''''''''''''''''''9''''''%'''''''">
              <a:rPr lang="da-DK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,9%</a:t>
            </a:fld>
            <a:endParaRPr lang="da-DK" sz="1400" b="1" noProof="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4B6976C5-B03F-4460-867B-663BD4C62EF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527550" y="2779713"/>
            <a:ext cx="985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009DF0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BC021B-EA31-4E82-87C2-130249666614}" type="datetime'''''''''''''+''1'''''''',''''1''''''''''''''''''''%'''''''">
              <a:rPr lang="da-DK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,1%</a:t>
            </a:fld>
            <a:endParaRPr lang="da-DK" sz="1400" b="1" noProof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C70A15D-5B04-4721-A865-46791E2FB3EE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3287713" y="6419850"/>
            <a:ext cx="152400" cy="0"/>
          </a:xfrm>
          <a:prstGeom prst="line">
            <a:avLst/>
          </a:prstGeom>
          <a:ln w="38100" cap="rnd" cmpd="sng" algn="ctr">
            <a:solidFill>
              <a:srgbClr val="ADD095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40F7930-8A62-4698-B560-CCD2A54A2689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3287713" y="6156325"/>
            <a:ext cx="152400" cy="0"/>
          </a:xfrm>
          <a:prstGeom prst="line">
            <a:avLst/>
          </a:prstGeom>
          <a:ln w="38100" cap="rnd" cmpd="sng" algn="ctr">
            <a:solidFill>
              <a:srgbClr val="009DF0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E4A60B3-33EA-416E-A778-E16467EA8F09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1263650" y="6156325"/>
            <a:ext cx="212725" cy="0"/>
          </a:xfrm>
          <a:prstGeom prst="line">
            <a:avLst/>
          </a:prstGeom>
          <a:ln w="381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C91C260-897B-4B92-ADE9-880D92895095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1255713" y="6419850"/>
            <a:ext cx="228600" cy="0"/>
          </a:xfrm>
          <a:prstGeom prst="line">
            <a:avLst/>
          </a:prstGeom>
          <a:ln w="19050" cap="rnd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BD61D26-7516-4ECD-B09F-C5631C260ECA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4956175" y="6156325"/>
            <a:ext cx="152400" cy="0"/>
          </a:xfrm>
          <a:prstGeom prst="line">
            <a:avLst/>
          </a:prstGeom>
          <a:ln w="38100" cap="rnd" cmpd="sng" algn="ctr">
            <a:solidFill>
              <a:srgbClr val="62294B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572C749-2F54-4EE5-83F7-7AE41DFF659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546225" y="6057900"/>
            <a:ext cx="1139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6513C5-2771-4223-81C9-094FE1B4ED79}" type="datetime'''''''''A''''''''''''a''r''''h''us'''''' ''''Ha''v''n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arhus Havn</a:t>
            </a:fld>
            <a:endParaRPr lang="da-DK" sz="1400" noProof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629C9E60-767D-43C3-B808-C2BAE2D09719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546225" y="6321425"/>
            <a:ext cx="1590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400" noProof="0"/>
              <a:t>Planlagt kapacite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90D9014-AF5D-4339-B585-01333D94A7D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540125" y="6321425"/>
            <a:ext cx="903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9EA491-D74A-43AC-AB8A-40BA101A0040}" type="datetime'''''''''Høj'''''''''''''''' ''v''''''''''æ''''k''''s''''t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øj vækst</a:t>
            </a:fld>
            <a:endParaRPr lang="da-DK" sz="1400" noProof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E6C7163-09A9-47B5-B746-254D2E58FC0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540125" y="6057900"/>
            <a:ext cx="1265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EEC84F0-3860-4E86-9449-585366776E69}" type="datetime'B''as''is ''''s''''''''c''''''''e''''n''a''''''''r''ie''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sis scenarie</a:t>
            </a:fld>
            <a:endParaRPr lang="da-DK" sz="1400" noProof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69F12F8-D9D1-4D63-8FFA-9F61DB49CAB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208588" y="6057900"/>
            <a:ext cx="908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7C31F8-912D-4E84-90CB-DDCD8061C28F}" type="datetime'''''''''''''''''''L''''''a''''''''v'''' ''væk''''''s''t''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av vækst</a:t>
            </a:fld>
            <a:endParaRPr lang="da-DK" sz="1400" noProof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00DD0A2-A274-4187-B645-6902E6755368}"/>
              </a:ext>
            </a:extLst>
          </p:cNvPr>
          <p:cNvSpPr txBox="1"/>
          <p:nvPr/>
        </p:nvSpPr>
        <p:spPr>
          <a:xfrm>
            <a:off x="9014377" y="2399532"/>
            <a:ext cx="221121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Ny rute til Asien har drevet væksten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01448B8-AEC6-4C3F-A0F4-554D6D132BD2}"/>
              </a:ext>
            </a:extLst>
          </p:cNvPr>
          <p:cNvSpPr txBox="1"/>
          <p:nvPr/>
        </p:nvSpPr>
        <p:spPr>
          <a:xfrm>
            <a:off x="9014377" y="3649107"/>
            <a:ext cx="221121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Containerskibe bliver større, og kræver dybere havnebassin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895F292-685D-4380-8577-020EDF274739}"/>
              </a:ext>
            </a:extLst>
          </p:cNvPr>
          <p:cNvSpPr txBox="1"/>
          <p:nvPr/>
        </p:nvSpPr>
        <p:spPr>
          <a:xfrm>
            <a:off x="9014377" y="5075381"/>
            <a:ext cx="221121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Opførelsen af Marselistunnelen skaber gode synergier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C63C08-2F38-4A87-B680-DCCBA3AC9FE4}"/>
              </a:ext>
            </a:extLst>
          </p:cNvPr>
          <p:cNvSpPr txBox="1"/>
          <p:nvPr/>
        </p:nvSpPr>
        <p:spPr>
          <a:xfrm>
            <a:off x="6381649" y="2692738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accent3"/>
                </a:solidFill>
              </a:rPr>
              <a:t>2,2%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F3907B7-77E1-44D4-8A07-468066FD1515}"/>
              </a:ext>
            </a:extLst>
          </p:cNvPr>
          <p:cNvSpPr txBox="1"/>
          <p:nvPr/>
        </p:nvSpPr>
        <p:spPr>
          <a:xfrm>
            <a:off x="6381649" y="3271050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tx2"/>
                </a:solidFill>
              </a:rPr>
              <a:t>1,7%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965FE980-C541-47C2-9F17-C26205DE8978}"/>
              </a:ext>
            </a:extLst>
          </p:cNvPr>
          <p:cNvSpPr txBox="1"/>
          <p:nvPr/>
        </p:nvSpPr>
        <p:spPr>
          <a:xfrm>
            <a:off x="6381649" y="3803495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accent4"/>
                </a:solidFill>
              </a:rPr>
              <a:t>1,0%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04B5C963-DAC8-49E1-B535-6AB0D9EE6292}"/>
              </a:ext>
            </a:extLst>
          </p:cNvPr>
          <p:cNvGrpSpPr/>
          <p:nvPr/>
        </p:nvGrpSpPr>
        <p:grpSpPr>
          <a:xfrm>
            <a:off x="11092255" y="127163"/>
            <a:ext cx="936000" cy="935999"/>
            <a:chOff x="353689" y="1946156"/>
            <a:chExt cx="510311" cy="504000"/>
          </a:xfrm>
        </p:grpSpPr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495D2489-F07A-41A9-ABF5-C17EE7CF0F26}"/>
                </a:ext>
              </a:extLst>
            </p:cNvPr>
            <p:cNvSpPr/>
            <p:nvPr/>
          </p:nvSpPr>
          <p:spPr>
            <a:xfrm>
              <a:off x="353689" y="1949001"/>
              <a:ext cx="468000" cy="468000"/>
            </a:xfrm>
            <a:prstGeom prst="ellipse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err="1"/>
            </a:p>
          </p:txBody>
        </p: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A692EA6B-CB6D-4FBD-9DA5-AA5E19825929}"/>
                </a:ext>
              </a:extLst>
            </p:cNvPr>
            <p:cNvGrpSpPr/>
            <p:nvPr/>
          </p:nvGrpSpPr>
          <p:grpSpPr>
            <a:xfrm>
              <a:off x="360000" y="1946156"/>
              <a:ext cx="504000" cy="504000"/>
              <a:chOff x="0" y="0"/>
              <a:chExt cx="914400" cy="914400"/>
            </a:xfrm>
          </p:grpSpPr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3EA1578B-6BF7-4961-8658-7E764E426A66}"/>
                  </a:ext>
                </a:extLst>
              </p:cNvPr>
              <p:cNvSpPr/>
              <p:nvPr/>
            </p:nvSpPr>
            <p:spPr>
              <a:xfrm>
                <a:off x="0" y="0"/>
                <a:ext cx="914400" cy="914400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92" name="Picture 91">
                <a:extLst>
                  <a:ext uri="{FF2B5EF4-FFF2-40B4-BE49-F238E27FC236}">
                    <a16:creationId xmlns:a16="http://schemas.microsoft.com/office/drawing/2014/main" id="{4B8F6B65-19BB-403F-B391-D3DA265E82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3"/>
              <a:srcRect/>
              <a:stretch/>
            </p:blipFill>
            <p:spPr>
              <a:xfrm>
                <a:off x="93507" y="93507"/>
                <a:ext cx="727385" cy="727385"/>
              </a:xfrm>
              <a:prstGeom prst="rect">
                <a:avLst/>
              </a:prstGeom>
            </p:spPr>
          </p:pic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44C9C54-7B23-492C-9326-987EAFD5129A}"/>
              </a:ext>
            </a:extLst>
          </p:cNvPr>
          <p:cNvGrpSpPr>
            <a:grpSpLocks/>
          </p:cNvGrpSpPr>
          <p:nvPr/>
        </p:nvGrpSpPr>
        <p:grpSpPr>
          <a:xfrm>
            <a:off x="7691522" y="2096555"/>
            <a:ext cx="1146965" cy="1146965"/>
            <a:chOff x="0" y="0"/>
            <a:chExt cx="914400" cy="91440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FA80033-BE0D-40F6-B0F6-9B637798B1A8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E29BB0B2-B5D9-4A77-8A2C-22ECD0088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4"/>
            <a:srcRect/>
            <a:stretch/>
          </p:blipFill>
          <p:spPr>
            <a:xfrm>
              <a:off x="93507" y="93508"/>
              <a:ext cx="727385" cy="727385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E4B76DC2-26D6-4BBA-BB91-532ADA41E07F}"/>
              </a:ext>
            </a:extLst>
          </p:cNvPr>
          <p:cNvGrpSpPr>
            <a:grpSpLocks/>
          </p:cNvGrpSpPr>
          <p:nvPr/>
        </p:nvGrpSpPr>
        <p:grpSpPr>
          <a:xfrm>
            <a:off x="7691521" y="3396308"/>
            <a:ext cx="1146966" cy="1146966"/>
            <a:chOff x="0" y="0"/>
            <a:chExt cx="914400" cy="914400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16CC242-262B-48D5-8BA0-C18D394E5AA6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4AF58A32-762E-4F62-B574-6FE6E7345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3"/>
            <a:srcRect/>
            <a:stretch/>
          </p:blipFill>
          <p:spPr>
            <a:xfrm>
              <a:off x="93507" y="93507"/>
              <a:ext cx="727385" cy="727385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59C873A-16BB-4785-97D5-D0673EFD4E89}"/>
              </a:ext>
            </a:extLst>
          </p:cNvPr>
          <p:cNvGrpSpPr>
            <a:grpSpLocks/>
          </p:cNvGrpSpPr>
          <p:nvPr/>
        </p:nvGrpSpPr>
        <p:grpSpPr>
          <a:xfrm>
            <a:off x="7761640" y="4887656"/>
            <a:ext cx="1006729" cy="1006729"/>
            <a:chOff x="0" y="0"/>
            <a:chExt cx="914400" cy="914400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8F2B3DF-759D-45C6-931F-3CB05C2A899D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68DFF61A-35DB-45E2-8691-7FAF93E655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5"/>
            <a:srcRect/>
            <a:stretch/>
          </p:blipFill>
          <p:spPr>
            <a:xfrm>
              <a:off x="93507" y="93508"/>
              <a:ext cx="727385" cy="727385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23A9B483-5E1B-42FA-81BD-4545A077C4B6}"/>
              </a:ext>
            </a:extLst>
          </p:cNvPr>
          <p:cNvSpPr txBox="1"/>
          <p:nvPr/>
        </p:nvSpPr>
        <p:spPr>
          <a:xfrm>
            <a:off x="360000" y="2013045"/>
            <a:ext cx="14807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Tusind tons</a:t>
            </a:r>
          </a:p>
        </p:txBody>
      </p:sp>
    </p:spTree>
    <p:extLst>
      <p:ext uri="{BB962C8B-B14F-4D97-AF65-F5344CB8AC3E}">
        <p14:creationId xmlns:p14="http://schemas.microsoft.com/office/powerpoint/2010/main" val="35385263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B095BE-AC90-4557-998E-D6445BF99A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957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B095BE-AC90-4557-998E-D6445BF99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>
            <a:extLst>
              <a:ext uri="{FF2B5EF4-FFF2-40B4-BE49-F238E27FC236}">
                <a16:creationId xmlns:a16="http://schemas.microsoft.com/office/drawing/2014/main" id="{B115273F-DFA5-4311-BF60-CAA1D1A44AA4}"/>
              </a:ext>
            </a:extLst>
          </p:cNvPr>
          <p:cNvSpPr/>
          <p:nvPr/>
        </p:nvSpPr>
        <p:spPr>
          <a:xfrm>
            <a:off x="7335672" y="1828800"/>
            <a:ext cx="4856328" cy="5029200"/>
          </a:xfrm>
          <a:prstGeom prst="rect">
            <a:avLst/>
          </a:prstGeom>
          <a:solidFill>
            <a:srgbClr val="C9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2ADF54-785E-4D59-8A81-9606406AF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Fast bulk kunder har brug for specifikke arealer for at kunne håndtere deres gods</a:t>
            </a:r>
          </a:p>
        </p:txBody>
      </p:sp>
      <p:sp>
        <p:nvSpPr>
          <p:cNvPr id="59" name="Slide Number Placeholder 3">
            <a:extLst>
              <a:ext uri="{FF2B5EF4-FFF2-40B4-BE49-F238E27FC236}">
                <a16:creationId xmlns:a16="http://schemas.microsoft.com/office/drawing/2014/main" id="{B6946161-B343-49F1-91E3-DEEB50B20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8</a:t>
            </a:fld>
            <a:endParaRPr lang="da-DK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00DD0A2-A274-4187-B645-6902E6755368}"/>
              </a:ext>
            </a:extLst>
          </p:cNvPr>
          <p:cNvSpPr txBox="1"/>
          <p:nvPr/>
        </p:nvSpPr>
        <p:spPr>
          <a:xfrm>
            <a:off x="9014377" y="2399532"/>
            <a:ext cx="221121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Specialindrettede områder med lange uopsigelige kontrakte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01448B8-AEC6-4C3F-A0F4-554D6D132BD2}"/>
              </a:ext>
            </a:extLst>
          </p:cNvPr>
          <p:cNvSpPr txBox="1"/>
          <p:nvPr/>
        </p:nvSpPr>
        <p:spPr>
          <a:xfrm>
            <a:off x="9014377" y="3474534"/>
            <a:ext cx="221121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Fasthold markedsposition på foderstoffer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895F292-685D-4380-8577-020EDF274739}"/>
              </a:ext>
            </a:extLst>
          </p:cNvPr>
          <p:cNvSpPr txBox="1"/>
          <p:nvPr/>
        </p:nvSpPr>
        <p:spPr>
          <a:xfrm>
            <a:off x="9014377" y="5409094"/>
            <a:ext cx="221121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Potentiale i at afsøge nye forretningsområder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193964A-FC21-494F-94CC-5FAEBF079706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1114425" y="55991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2E577864-3FE8-4758-96BE-74B7A8EC4914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114425" y="48148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E02E3BF-E9E9-4DA5-85AA-B496031BBC07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1114425" y="40528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AD53D7A-079B-47DA-BBEE-B8D7A98469C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1114425" y="32924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E24C617-682D-4A8B-B50E-2662CF3D287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1114425" y="25304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D2C23F35-E3DE-46B0-8F9D-483535FB25E4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08594197"/>
              </p:ext>
            </p:extLst>
          </p:nvPr>
        </p:nvGraphicFramePr>
        <p:xfrm>
          <a:off x="784225" y="2447925"/>
          <a:ext cx="6186488" cy="3525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F434835C-3DD0-450E-82C0-D4D339A8DF2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81013" y="3946525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8F457FD-0B30-4377-B055-730D6AA858CE}" type="datetime'''''''''''''''''''''''''''''3''.''''5''''''''0''''''0''''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500</a:t>
            </a:fld>
            <a:endParaRPr lang="da-DK" sz="1400" noProof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27748A11-342E-4B95-A33A-27B099C5E46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84238" y="5492750"/>
            <a:ext cx="112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79C224-7174-4A54-8007-3D8A6BA857B2}" type="datetime'''''''''''''''''''''''0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a-DK" sz="1400" noProof="0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4142D38C-8906-48D5-B182-362B8816F69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1013" y="4708525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339E6B6-4B85-4F35-98E2-548A29461F7D}" type="datetime'''3''''''''''''''.''''''''''00''''0''''''''''''''''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000</a:t>
            </a:fld>
            <a:endParaRPr lang="da-DK" sz="1400" noProof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BF20F269-56AD-4BB9-A51E-67745BFEE50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1013" y="3186113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25AF0EF-C005-44E5-B75A-780C25E112C2}" type="datetime'''''4''.''''0''0''''''0''''''''''''''''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000</a:t>
            </a:fld>
            <a:endParaRPr lang="da-DK" sz="1400" noProof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29CE3361-0C6D-45C5-B643-435731F6736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1013" y="2424113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7290D0-C843-48CF-8D82-3AC6856E79F6}" type="datetime'''''''''''''4''''''.''''''5''0''''''''''''''''''0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500</a:t>
            </a:fld>
            <a:endParaRPr lang="da-DK" sz="1400" noProof="0"/>
          </a:p>
        </p:txBody>
      </p:sp>
      <p:sp useBgFill="1">
        <p:nvSpPr>
          <p:cNvPr id="7" name="Freeform: Shape 6">
            <a:extLst>
              <a:ext uri="{FF2B5EF4-FFF2-40B4-BE49-F238E27FC236}">
                <a16:creationId xmlns:a16="http://schemas.microsoft.com/office/drawing/2014/main" id="{528498E9-F042-47DA-9C85-9A18437A4A3D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100138" y="5486400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30642DF8-D896-4F18-80E5-8F79B2BA3C02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1100138" y="554355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2628B9AD-C722-4504-B8FE-748F0F03E5A9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00138" y="548640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9585838C-DBA9-4171-9D02-E5945FE23A96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2962275" y="6156325"/>
            <a:ext cx="152400" cy="0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F873BF9D-3CEA-48EC-BF84-4CBA5A5AFC9F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1263650" y="6156325"/>
            <a:ext cx="212725" cy="0"/>
          </a:xfrm>
          <a:prstGeom prst="line">
            <a:avLst/>
          </a:prstGeom>
          <a:ln w="381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2503ABF9-0F75-4C76-B929-4714569A9123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1293813" y="6419850"/>
            <a:ext cx="152400" cy="0"/>
          </a:xfrm>
          <a:prstGeom prst="line">
            <a:avLst/>
          </a:prstGeom>
          <a:ln w="38100" cap="rnd" cmpd="sng" algn="ctr">
            <a:solidFill>
              <a:srgbClr val="009DF0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F391DA0-4B1D-4D70-9B0E-78C4255ADFF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2962275" y="6419850"/>
            <a:ext cx="152400" cy="0"/>
          </a:xfrm>
          <a:prstGeom prst="line">
            <a:avLst/>
          </a:prstGeom>
          <a:ln w="38100" cap="rnd" cmpd="sng" algn="ctr">
            <a:solidFill>
              <a:schemeClr val="accent4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A13A634-83DD-4495-99EB-E2432CC5FB8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546225" y="6057900"/>
            <a:ext cx="1139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FFE99B4-3033-4D4D-9075-B4265BD4033D}" type="datetime'''''''A''''''a''''r''h''''''''''''''''''u''''s ''''''''H''avn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arhus Havn</a:t>
            </a:fld>
            <a:endParaRPr lang="da-DK" sz="1400" noProof="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85D99DD3-9CDA-44E6-9FB1-A66543C37BC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546225" y="6321425"/>
            <a:ext cx="1265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1EA42B-4D3F-446E-B44F-9DA4CDF4A89A}" type="datetime'''''''''''''Ba''''''''''s''''''''i''s s''''ce''n''ar''i''e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sis scenarie</a:t>
            </a:fld>
            <a:endParaRPr lang="da-DK" sz="1400" noProof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ADD6BD8D-92FE-4289-883C-CADB0BAEB47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214688" y="6057900"/>
            <a:ext cx="903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97C75B7-9AF2-4026-AAA3-B0A3C30ADA56}" type="datetime'H''ø''''''''j'''''' ''''''''''''''''''''''''''væ''''''''kst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øj vækst</a:t>
            </a:fld>
            <a:endParaRPr lang="da-DK" sz="1400" noProof="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1F6232ED-1B94-43A4-A6C0-0F1423A2C9AE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214688" y="6321425"/>
            <a:ext cx="908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6522E14-6D6C-46BD-91A1-E11F2A0C7E55}" type="datetime'''''''L''a''v'''''''''' ''''''''''v''æk''''''''''st''''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av vækst</a:t>
            </a:fld>
            <a:endParaRPr lang="da-DK" sz="1400" noProof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C63C08-2F38-4A87-B680-DCCBA3AC9FE4}"/>
              </a:ext>
            </a:extLst>
          </p:cNvPr>
          <p:cNvSpPr txBox="1"/>
          <p:nvPr/>
        </p:nvSpPr>
        <p:spPr>
          <a:xfrm>
            <a:off x="6381649" y="2473342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accent3"/>
                </a:solidFill>
              </a:rPr>
              <a:t>1,4%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F3907B7-77E1-44D4-8A07-468066FD1515}"/>
              </a:ext>
            </a:extLst>
          </p:cNvPr>
          <p:cNvSpPr txBox="1"/>
          <p:nvPr/>
        </p:nvSpPr>
        <p:spPr>
          <a:xfrm>
            <a:off x="6381649" y="2992082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tx2"/>
                </a:solidFill>
              </a:rPr>
              <a:t>1,1%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965FE980-C541-47C2-9F17-C26205DE8978}"/>
              </a:ext>
            </a:extLst>
          </p:cNvPr>
          <p:cNvSpPr txBox="1"/>
          <p:nvPr/>
        </p:nvSpPr>
        <p:spPr>
          <a:xfrm>
            <a:off x="6381649" y="4520257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accent4"/>
                </a:solidFill>
              </a:rPr>
              <a:t>0,2%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858C2AFB-469D-40D3-8509-D3DE64377B86}"/>
              </a:ext>
            </a:extLst>
          </p:cNvPr>
          <p:cNvGrpSpPr/>
          <p:nvPr/>
        </p:nvGrpSpPr>
        <p:grpSpPr>
          <a:xfrm>
            <a:off x="11092255" y="127163"/>
            <a:ext cx="936000" cy="936000"/>
            <a:chOff x="4828571" y="1727870"/>
            <a:chExt cx="699460" cy="690810"/>
          </a:xfrm>
        </p:grpSpPr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A75A27E0-CF4F-4EB5-9924-AEC8BE6C3975}"/>
                </a:ext>
              </a:extLst>
            </p:cNvPr>
            <p:cNvGrpSpPr/>
            <p:nvPr/>
          </p:nvGrpSpPr>
          <p:grpSpPr>
            <a:xfrm>
              <a:off x="4828571" y="1727870"/>
              <a:ext cx="699460" cy="690810"/>
              <a:chOff x="353689" y="1946156"/>
              <a:chExt cx="510311" cy="504000"/>
            </a:xfrm>
          </p:grpSpPr>
          <p:sp>
            <p:nvSpPr>
              <p:cNvPr id="136" name="Oval 135">
                <a:extLst>
                  <a:ext uri="{FF2B5EF4-FFF2-40B4-BE49-F238E27FC236}">
                    <a16:creationId xmlns:a16="http://schemas.microsoft.com/office/drawing/2014/main" id="{27BD2494-90F2-4D1C-9768-B40C51738DE9}"/>
                  </a:ext>
                </a:extLst>
              </p:cNvPr>
              <p:cNvSpPr/>
              <p:nvPr/>
            </p:nvSpPr>
            <p:spPr>
              <a:xfrm>
                <a:off x="353689" y="1949001"/>
                <a:ext cx="468000" cy="468000"/>
              </a:xfrm>
              <a:prstGeom prst="ellips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endParaRPr lang="en-GB" sz="2000" noProof="0" err="1"/>
              </a:p>
            </p:txBody>
          </p:sp>
          <p:sp>
            <p:nvSpPr>
              <p:cNvPr id="137" name="Rectangle 136">
                <a:extLst>
                  <a:ext uri="{FF2B5EF4-FFF2-40B4-BE49-F238E27FC236}">
                    <a16:creationId xmlns:a16="http://schemas.microsoft.com/office/drawing/2014/main" id="{C25C4F88-EBE2-449D-A425-3980EABB5DCE}"/>
                  </a:ext>
                </a:extLst>
              </p:cNvPr>
              <p:cNvSpPr/>
              <p:nvPr/>
            </p:nvSpPr>
            <p:spPr>
              <a:xfrm>
                <a:off x="360000" y="1946156"/>
                <a:ext cx="504000" cy="504000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pic>
          <p:nvPicPr>
            <p:cNvPr id="135" name="Picture 134">
              <a:extLst>
                <a:ext uri="{FF2B5EF4-FFF2-40B4-BE49-F238E27FC236}">
                  <a16:creationId xmlns:a16="http://schemas.microsoft.com/office/drawing/2014/main" id="{26847DD9-DD29-4B71-90C1-3D35CA7B56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rcRect/>
            <a:stretch/>
          </p:blipFill>
          <p:spPr>
            <a:xfrm>
              <a:off x="4874351" y="1776185"/>
              <a:ext cx="549524" cy="549524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4C23536-907D-4C75-96A6-1D354635F824}"/>
              </a:ext>
            </a:extLst>
          </p:cNvPr>
          <p:cNvGrpSpPr>
            <a:grpSpLocks/>
          </p:cNvGrpSpPr>
          <p:nvPr/>
        </p:nvGrpSpPr>
        <p:grpSpPr>
          <a:xfrm>
            <a:off x="7745836" y="5126712"/>
            <a:ext cx="1045482" cy="1045482"/>
            <a:chOff x="0" y="0"/>
            <a:chExt cx="914400" cy="914400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EB18800-7BAB-48CB-99F4-52FC3B98CBF2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B5F740C0-C1A3-4C28-96E6-ECBD34471C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rcRect/>
            <a:stretch/>
          </p:blipFill>
          <p:spPr>
            <a:xfrm>
              <a:off x="93507" y="93508"/>
              <a:ext cx="727385" cy="727385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F459354-FC57-4047-8392-D1B6CA6DAF5E}"/>
              </a:ext>
            </a:extLst>
          </p:cNvPr>
          <p:cNvGrpSpPr>
            <a:grpSpLocks/>
          </p:cNvGrpSpPr>
          <p:nvPr/>
        </p:nvGrpSpPr>
        <p:grpSpPr>
          <a:xfrm>
            <a:off x="7702449" y="2096532"/>
            <a:ext cx="1155126" cy="1155126"/>
            <a:chOff x="0" y="0"/>
            <a:chExt cx="914400" cy="914400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F569F12-4583-4425-BFA2-D8F8104B2DCE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AE93952D-C50C-4EFB-AD31-72F45BFD5C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rcRect/>
            <a:stretch/>
          </p:blipFill>
          <p:spPr>
            <a:xfrm>
              <a:off x="93507" y="93508"/>
              <a:ext cx="727385" cy="727385"/>
            </a:xfrm>
            <a:prstGeom prst="rect">
              <a:avLst/>
            </a:prstGeom>
          </p:spPr>
        </p:pic>
      </p:grpSp>
      <p:sp>
        <p:nvSpPr>
          <p:cNvPr id="93" name="TextBox 92">
            <a:extLst>
              <a:ext uri="{FF2B5EF4-FFF2-40B4-BE49-F238E27FC236}">
                <a16:creationId xmlns:a16="http://schemas.microsoft.com/office/drawing/2014/main" id="{F3481AA1-57E5-48AF-B9E3-2C4F632CE62E}"/>
              </a:ext>
            </a:extLst>
          </p:cNvPr>
          <p:cNvSpPr txBox="1"/>
          <p:nvPr/>
        </p:nvSpPr>
        <p:spPr>
          <a:xfrm>
            <a:off x="360000" y="2013045"/>
            <a:ext cx="14807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Tusind ton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10776A9-E964-4300-AC2D-26E3D1769885}"/>
              </a:ext>
            </a:extLst>
          </p:cNvPr>
          <p:cNvSpPr txBox="1"/>
          <p:nvPr/>
        </p:nvSpPr>
        <p:spPr>
          <a:xfrm>
            <a:off x="9014377" y="4549536"/>
            <a:ext cx="221121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Har tabt markedsandele på sten, sand og grus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22A4FF4-BDB0-49F7-88E6-07495D205988}"/>
              </a:ext>
            </a:extLst>
          </p:cNvPr>
          <p:cNvGrpSpPr>
            <a:grpSpLocks/>
          </p:cNvGrpSpPr>
          <p:nvPr/>
        </p:nvGrpSpPr>
        <p:grpSpPr>
          <a:xfrm>
            <a:off x="7702449" y="4200012"/>
            <a:ext cx="1155126" cy="1155126"/>
            <a:chOff x="0" y="0"/>
            <a:chExt cx="914400" cy="914400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67251E3A-2723-4E3F-ACF9-B7E1C5DF9D06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D15652A5-731F-4542-9CD2-561F94193F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rcRect/>
            <a:stretch/>
          </p:blipFill>
          <p:spPr>
            <a:xfrm>
              <a:off x="93507" y="93508"/>
              <a:ext cx="727385" cy="727385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9AC9A97-D8D4-4F14-B1B2-1EB50B3B0F14}"/>
              </a:ext>
            </a:extLst>
          </p:cNvPr>
          <p:cNvGrpSpPr>
            <a:grpSpLocks/>
          </p:cNvGrpSpPr>
          <p:nvPr/>
        </p:nvGrpSpPr>
        <p:grpSpPr>
          <a:xfrm>
            <a:off x="7625077" y="3139836"/>
            <a:ext cx="1309868" cy="1309868"/>
            <a:chOff x="0" y="0"/>
            <a:chExt cx="914400" cy="914400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E1E3B29-EF0B-4F5E-9B11-6C021C8B00E0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6BDE80D9-C7FD-491B-99C4-20DA43CBE9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/>
            <a:srcRect/>
            <a:stretch/>
          </p:blipFill>
          <p:spPr>
            <a:xfrm>
              <a:off x="93507" y="93507"/>
              <a:ext cx="727385" cy="7273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98568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B095BE-AC90-4557-998E-D6445BF99A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0720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60" imgH="360" progId="TCLayout.ActiveDocument.1">
                  <p:embed/>
                </p:oleObj>
              </mc:Choice>
              <mc:Fallback>
                <p:oleObj name="think-cell Slide" r:id="rId40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B095BE-AC90-4557-998E-D6445BF99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68">
            <a:extLst>
              <a:ext uri="{FF2B5EF4-FFF2-40B4-BE49-F238E27FC236}">
                <a16:creationId xmlns:a16="http://schemas.microsoft.com/office/drawing/2014/main" id="{A6AFC913-5A6A-4E74-A8D3-CD89BDE8C26F}"/>
              </a:ext>
            </a:extLst>
          </p:cNvPr>
          <p:cNvSpPr/>
          <p:nvPr/>
        </p:nvSpPr>
        <p:spPr>
          <a:xfrm>
            <a:off x="7335672" y="1828800"/>
            <a:ext cx="4856328" cy="5029200"/>
          </a:xfrm>
          <a:prstGeom prst="rect">
            <a:avLst/>
          </a:prstGeom>
          <a:solidFill>
            <a:srgbClr val="C9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2ADF54-785E-4D59-8A81-9606406AF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Flydende bulk kan være essentielt i omstillingen til fremtidens grønnere havn</a:t>
            </a:r>
          </a:p>
        </p:txBody>
      </p:sp>
      <p:sp>
        <p:nvSpPr>
          <p:cNvPr id="59" name="Slide Number Placeholder 3">
            <a:extLst>
              <a:ext uri="{FF2B5EF4-FFF2-40B4-BE49-F238E27FC236}">
                <a16:creationId xmlns:a16="http://schemas.microsoft.com/office/drawing/2014/main" id="{B6946161-B343-49F1-91E3-DEEB50B20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9</a:t>
            </a:fld>
            <a:endParaRPr lang="da-DK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00DD0A2-A274-4187-B645-6902E6755368}"/>
              </a:ext>
            </a:extLst>
          </p:cNvPr>
          <p:cNvSpPr txBox="1"/>
          <p:nvPr/>
        </p:nvSpPr>
        <p:spPr>
          <a:xfrm>
            <a:off x="9014377" y="2272312"/>
            <a:ext cx="221121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Aarhus Havn skal kunne understøtte omstillingen til grønne brændsle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001448B8-AEC6-4C3F-A0F4-554D6D132BD2}"/>
              </a:ext>
            </a:extLst>
          </p:cNvPr>
          <p:cNvSpPr txBox="1"/>
          <p:nvPr/>
        </p:nvSpPr>
        <p:spPr>
          <a:xfrm>
            <a:off x="9014377" y="3800941"/>
            <a:ext cx="239816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Tanke er specialindrettede til de enkelte varetyper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895F292-685D-4380-8577-020EDF274739}"/>
              </a:ext>
            </a:extLst>
          </p:cNvPr>
          <p:cNvSpPr txBox="1"/>
          <p:nvPr/>
        </p:nvSpPr>
        <p:spPr>
          <a:xfrm>
            <a:off x="9014377" y="5114126"/>
            <a:ext cx="2211214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Lang udfasning af traditionelle brændstoff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901790F-DB8D-427C-A7DF-22320EB344DE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flipH="1">
            <a:off x="1114425" y="390048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25D8C97-C20C-4E53-B3B6-50908703AC00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1114425" y="55991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58977B64-D5A9-4C9B-A3EA-97A8D8A21546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H="1">
            <a:off x="1114425" y="52689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EF0A5F29-BCA9-4609-AA74-27B54D61566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1114425" y="25304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33759768-E72B-40ED-AEEE-B55A54347DA9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1114425" y="30781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2E7FC03-1921-4FB4-A95F-E4D68A36903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1114425" y="499586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E663DFD0-626B-4802-96AD-58F4BF7076FF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1114425" y="472122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D8E12F2-88A4-423F-8429-BD2EF60081FF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1114425" y="4448175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03013F7-CAD5-48D4-A383-F28A35E1C1DF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1114425" y="4173538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5EB6F41-BDBF-44B7-8F5C-5746261D15C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1114425" y="362585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C310682-BAF9-44BD-8527-F06DCADA7665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1114425" y="3352800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E079696-B40D-4583-882C-C859B0685AD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1114425" y="2805113"/>
            <a:ext cx="58738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01" name="Chart 100">
            <a:extLst>
              <a:ext uri="{FF2B5EF4-FFF2-40B4-BE49-F238E27FC236}">
                <a16:creationId xmlns:a16="http://schemas.microsoft.com/office/drawing/2014/main" id="{84F3615A-5D95-480E-BFF2-30F1E1EEDDA8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16763983"/>
              </p:ext>
            </p:extLst>
          </p:nvPr>
        </p:nvGraphicFramePr>
        <p:xfrm>
          <a:off x="784225" y="2447925"/>
          <a:ext cx="6186488" cy="3525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F23EF86A-1E36-4BB7-A324-B9B00890BA6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1013" y="4889500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E2EAE94-5925-40DC-869B-07BE6441A6E4}" type="datetime'''''''1''''.3''''00''''''''''''''''''''''''''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300</a:t>
            </a:fld>
            <a:endParaRPr lang="da-DK" sz="1400" noProof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0CC7191C-2F84-4EAB-B71C-09E37CE9005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1013" y="5162550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6BA762F-CD42-4283-B7DF-6BBA126F0E3C}" type="datetime'''1''''.''''''''''''''''''''''2''0''''''''0''''''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200</a:t>
            </a:fld>
            <a:endParaRPr lang="da-DK" sz="1400" noProof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CE13A44A-6FE1-4864-B3FF-40C4F4FDD56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1013" y="4067175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343618-A49B-4D50-B45B-6BF0D5761576}" type="datetime'''''''''''''''''''''1''''''''''''''.''''''''''''60''0''''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600</a:t>
            </a:fld>
            <a:endParaRPr lang="da-DK" sz="1400" noProof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AB9F1D30-EF48-4A60-9603-773D15DE9C7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84238" y="5492750"/>
            <a:ext cx="112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371A7B0-E7DF-485A-9B3C-04A02D97AD7C}" type="datetime'''''''0''''''''''''''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da-DK" sz="1400" noProof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8E43E3AA-569C-4DEB-99D5-6A524F44CB4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1013" y="4614863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8BEBF2D-24AD-4497-8AC3-7A73CADF7047}" type="datetime'''''''''1''.''''''4''''''''''''''''''0''''''''0''''''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00</a:t>
            </a:fld>
            <a:endParaRPr lang="da-DK" sz="1400" noProof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8CB20FE4-3DBC-47F2-91FD-0D96B01399F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1013" y="4341813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7E5A831-CB7C-42BA-A37D-2D87B15ABB59}" type="datetime'''''1''''''''''''''''''''''''''.''''5''''''''''''''''0''0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500</a:t>
            </a:fld>
            <a:endParaRPr lang="da-DK" sz="1400" noProof="0"/>
          </a:p>
        </p:txBody>
      </p:sp>
      <p:sp>
        <p:nvSpPr>
          <p:cNvPr id="151" name="Text Placeholder 2">
            <a:extLst>
              <a:ext uri="{FF2B5EF4-FFF2-40B4-BE49-F238E27FC236}">
                <a16:creationId xmlns:a16="http://schemas.microsoft.com/office/drawing/2014/main" id="{D33F4F86-4B63-4DD1-A9B9-91A650BE27A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81013" y="3246438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6FC8300-1366-4D20-8CA4-9FAF08128D3B}" type="datetime'''''''''''1''''''''''.''''''''9''''''''''''0''0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900</a:t>
            </a:fld>
            <a:endParaRPr lang="da-DK" sz="1400" noProof="0"/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57522DFF-851D-4FC0-9077-1BC5145C24B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81013" y="3794125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8EBA6B-4D6D-4EF3-B4FA-E727DAC57998}" type="datetime'''''''''1''''''''.''''''7''''''''''''''''''''0''''0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700</a:t>
            </a:fld>
            <a:endParaRPr lang="da-DK" sz="1400" noProof="0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F7AB3D52-1257-4942-9C37-BEF89067FB5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81013" y="3519488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F5C0DF-C622-43E6-A6D6-BD89F2D6625C}" type="datetime'''''''''''''''''''''''1''''''''.''''80''''''''''''0''''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800</a:t>
            </a:fld>
            <a:endParaRPr lang="da-DK" sz="1400" noProof="0"/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99C0006A-A8F3-40E6-ABFE-4F6E5B8FAF5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81013" y="2971800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97BE841-1AF6-4F9C-94C5-71D5FAED611E}" type="datetime'''''''''''''''''''''''''''''''2.''''''0''0''''''''0''''''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00</a:t>
            </a:fld>
            <a:endParaRPr lang="da-DK" sz="1400" noProof="0"/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39F4C2FF-4049-4F14-848A-5AED4997433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81013" y="2698750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F4834DC-8425-4EE3-BA72-B29A8BAC135F}" type="datetime'2''''.''''''1''''''''0''''''''''''''''0'''''''''''''''''">
              <a:rPr lang="da-DK" altLang="en-US" sz="14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100</a:t>
            </a:fld>
            <a:endParaRPr lang="da-DK" sz="1400" noProof="0"/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D22B6B78-72EA-4077-B1BB-A393E9A375A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81013" y="2424113"/>
            <a:ext cx="5159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6DDC3A8-04D5-40DC-8A78-F2DE97C1E854}" type="datetime'''''''''''''''''''''2''''''''''''''.''2''00'''">
              <a:rPr lang="da-DK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00</a:t>
            </a:fld>
            <a:endParaRPr lang="da-DK" sz="1400" noProof="0"/>
          </a:p>
        </p:txBody>
      </p:sp>
      <p:sp useBgFill="1">
        <p:nvSpPr>
          <p:cNvPr id="16" name="Freeform: Shape 15">
            <a:extLst>
              <a:ext uri="{FF2B5EF4-FFF2-40B4-BE49-F238E27FC236}">
                <a16:creationId xmlns:a16="http://schemas.microsoft.com/office/drawing/2014/main" id="{5F131535-E23F-42AE-BE3F-DD5946F12F79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100138" y="5486400"/>
            <a:ext cx="146050" cy="96838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D6FDE307-C7EC-4992-B1FF-587129E45DFC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100138" y="548640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B49FEF46-9256-4A3D-A86C-64125FD0B253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100138" y="5543550"/>
            <a:ext cx="146050" cy="39688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314FE8F7-2219-47F6-B6FC-11778C4DE316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2962275" y="6156325"/>
            <a:ext cx="152400" cy="0"/>
          </a:xfrm>
          <a:prstGeom prst="line">
            <a:avLst/>
          </a:prstGeom>
          <a:ln w="38100" cap="rnd" cmpd="sng" algn="ctr">
            <a:solidFill>
              <a:schemeClr val="accent3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F66FB8F7-A065-443C-AFC3-290FEDD1CA9C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1263650" y="6156325"/>
            <a:ext cx="212725" cy="0"/>
          </a:xfrm>
          <a:prstGeom prst="line">
            <a:avLst/>
          </a:prstGeom>
          <a:ln w="38100" cap="rnd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B6EC40C3-B2E5-4D14-A45F-90C0D4309CF5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1293813" y="6419850"/>
            <a:ext cx="152400" cy="0"/>
          </a:xfrm>
          <a:prstGeom prst="line">
            <a:avLst/>
          </a:prstGeom>
          <a:ln w="38100" cap="rnd" cmpd="sng" algn="ctr">
            <a:solidFill>
              <a:srgbClr val="009DF0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6407B586-1BFD-41A8-B0D0-83DFFCE3C8C4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2962275" y="6419850"/>
            <a:ext cx="152400" cy="0"/>
          </a:xfrm>
          <a:prstGeom prst="line">
            <a:avLst/>
          </a:prstGeom>
          <a:ln w="38100" cap="rnd" cmpd="sng" algn="ctr">
            <a:solidFill>
              <a:schemeClr val="accent4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4308727A-4170-4EE0-A798-011E7E96F2A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546225" y="6057900"/>
            <a:ext cx="1139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B62B9A-1B3F-44EA-9CA2-5D1FC011A099}" type="datetime'''''A''a''r''''''''''''''hu''''s'''' Ha''vn''''''''''''''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arhus Havn</a:t>
            </a:fld>
            <a:endParaRPr lang="da-DK" sz="1400" noProof="0"/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6D08745C-E168-4755-B5EF-1D2CF2E3BFA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546225" y="6321425"/>
            <a:ext cx="1265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5E12F3-1945-4F5A-8726-9424752391AB}" type="datetime'B''''as''i''s ''sc''e''''n''''a''r''''''i''''e''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sis scenarie</a:t>
            </a:fld>
            <a:endParaRPr lang="da-DK" sz="1400" noProof="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48ACE28-C503-4BD0-A176-1E175B994ED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214688" y="6321425"/>
            <a:ext cx="908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DBCB74-EA1C-4F39-B67F-E581FD3CA206}" type="datetime'''''L''a''''''''''v ''væ''''''''''''''k''s''''''t''''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Lav vækst</a:t>
            </a:fld>
            <a:endParaRPr lang="da-DK" sz="1400" noProof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DB11B5A7-9D09-461F-A824-344EFA6ADC1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214688" y="6057900"/>
            <a:ext cx="9032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4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8615C8-D167-49AA-B2A8-0A2A9B82023C}" type="datetime'''''H''ø''''j'' ''v''''''''''''''''æ''''k''''''''''''s''''''t'">
              <a:rPr lang="da-DK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øj vækst</a:t>
            </a:fld>
            <a:endParaRPr lang="da-DK" sz="1400" noProof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C63C08-2F38-4A87-B680-DCCBA3AC9FE4}"/>
              </a:ext>
            </a:extLst>
          </p:cNvPr>
          <p:cNvSpPr txBox="1"/>
          <p:nvPr/>
        </p:nvSpPr>
        <p:spPr>
          <a:xfrm>
            <a:off x="6381649" y="2473342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accent3"/>
                </a:solidFill>
              </a:rPr>
              <a:t>1,6%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F3907B7-77E1-44D4-8A07-468066FD1515}"/>
              </a:ext>
            </a:extLst>
          </p:cNvPr>
          <p:cNvSpPr txBox="1"/>
          <p:nvPr/>
        </p:nvSpPr>
        <p:spPr>
          <a:xfrm>
            <a:off x="6381649" y="2992082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tx2"/>
                </a:solidFill>
              </a:rPr>
              <a:t>1,3%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965FE980-C541-47C2-9F17-C26205DE8978}"/>
              </a:ext>
            </a:extLst>
          </p:cNvPr>
          <p:cNvSpPr txBox="1"/>
          <p:nvPr/>
        </p:nvSpPr>
        <p:spPr>
          <a:xfrm>
            <a:off x="6381649" y="4138596"/>
            <a:ext cx="62677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a-DK" sz="1600" b="1">
                <a:solidFill>
                  <a:schemeClr val="accent4"/>
                </a:solidFill>
              </a:rPr>
              <a:t>0,5%</a:t>
            </a:r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B65AF888-6950-4A22-BA27-E4923ABAAD38}"/>
              </a:ext>
            </a:extLst>
          </p:cNvPr>
          <p:cNvGrpSpPr/>
          <p:nvPr/>
        </p:nvGrpSpPr>
        <p:grpSpPr>
          <a:xfrm>
            <a:off x="11092255" y="127163"/>
            <a:ext cx="936000" cy="936000"/>
            <a:chOff x="4828571" y="1727870"/>
            <a:chExt cx="699460" cy="690810"/>
          </a:xfrm>
        </p:grpSpPr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7BD87B8B-E1A6-4076-B3B5-6597E2549248}"/>
                </a:ext>
              </a:extLst>
            </p:cNvPr>
            <p:cNvGrpSpPr/>
            <p:nvPr/>
          </p:nvGrpSpPr>
          <p:grpSpPr>
            <a:xfrm>
              <a:off x="4828571" y="1727870"/>
              <a:ext cx="699460" cy="690810"/>
              <a:chOff x="353689" y="1946156"/>
              <a:chExt cx="510311" cy="50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DC01482B-09A5-4204-9CCB-D8EEEA05D996}"/>
                  </a:ext>
                </a:extLst>
              </p:cNvPr>
              <p:cNvSpPr/>
              <p:nvPr/>
            </p:nvSpPr>
            <p:spPr>
              <a:xfrm>
                <a:off x="353689" y="1949001"/>
                <a:ext cx="468000" cy="468000"/>
              </a:xfrm>
              <a:prstGeom prst="ellipse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72000" tIns="36000" rIns="72000" bIns="36000" rtlCol="0" anchor="ctr"/>
              <a:lstStyle/>
              <a:p>
                <a:pPr algn="ctr"/>
                <a:endParaRPr lang="en-GB" sz="2000" noProof="0" err="1"/>
              </a:p>
            </p:txBody>
          </p:sp>
          <p:sp>
            <p:nvSpPr>
              <p:cNvPr id="164" name="Rectangle 163">
                <a:extLst>
                  <a:ext uri="{FF2B5EF4-FFF2-40B4-BE49-F238E27FC236}">
                    <a16:creationId xmlns:a16="http://schemas.microsoft.com/office/drawing/2014/main" id="{F2A918F8-3B16-4370-83C8-B46F1D70CD95}"/>
                  </a:ext>
                </a:extLst>
              </p:cNvPr>
              <p:cNvSpPr/>
              <p:nvPr/>
            </p:nvSpPr>
            <p:spPr>
              <a:xfrm>
                <a:off x="360000" y="1946156"/>
                <a:ext cx="504000" cy="504000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30CD81BF-0615-4A3B-9DEA-4AC6922938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/>
            <a:srcRect/>
            <a:stretch/>
          </p:blipFill>
          <p:spPr>
            <a:xfrm>
              <a:off x="4922992" y="1830658"/>
              <a:ext cx="447946" cy="447946"/>
            </a:xfrm>
            <a:prstGeom prst="rect">
              <a:avLst/>
            </a:prstGeom>
          </p:spPr>
        </p:pic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30CCA030-AF8E-4B95-B189-1F1A9A99BE00}"/>
              </a:ext>
            </a:extLst>
          </p:cNvPr>
          <p:cNvGrpSpPr/>
          <p:nvPr/>
        </p:nvGrpSpPr>
        <p:grpSpPr>
          <a:xfrm>
            <a:off x="7827230" y="2086727"/>
            <a:ext cx="1028244" cy="1151576"/>
            <a:chOff x="7255646" y="3735312"/>
            <a:chExt cx="557196" cy="624027"/>
          </a:xfrm>
        </p:grpSpPr>
        <p:pic>
          <p:nvPicPr>
            <p:cNvPr id="172" name="Graphic 171" descr="Fuel with solid fill">
              <a:extLst>
                <a:ext uri="{FF2B5EF4-FFF2-40B4-BE49-F238E27FC236}">
                  <a16:creationId xmlns:a16="http://schemas.microsoft.com/office/drawing/2014/main" id="{1F01282C-F792-4FFA-97D6-DC6ED8A20E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5"/>
                </a:ext>
              </a:extLst>
            </a:blip>
            <a:stretch>
              <a:fillRect/>
            </a:stretch>
          </p:blipFill>
          <p:spPr>
            <a:xfrm>
              <a:off x="7255646" y="3735312"/>
              <a:ext cx="557196" cy="624027"/>
            </a:xfrm>
            <a:prstGeom prst="rect">
              <a:avLst/>
            </a:prstGeom>
          </p:spPr>
        </p:pic>
        <p:pic>
          <p:nvPicPr>
            <p:cNvPr id="173" name="Graphic 172" descr="Renewable Energy with solid fill">
              <a:extLst>
                <a:ext uri="{FF2B5EF4-FFF2-40B4-BE49-F238E27FC236}">
                  <a16:creationId xmlns:a16="http://schemas.microsoft.com/office/drawing/2014/main" id="{74AD0951-D743-4A21-BB7C-9D6BB6CAD0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tretch>
              <a:fillRect/>
            </a:stretch>
          </p:blipFill>
          <p:spPr>
            <a:xfrm>
              <a:off x="7338592" y="3955036"/>
              <a:ext cx="287401" cy="321873"/>
            </a:xfrm>
            <a:prstGeom prst="rect">
              <a:avLst/>
            </a:prstGeom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4AE6DEE-8213-4FFF-9AE7-FBEDA4A5C14F}"/>
              </a:ext>
            </a:extLst>
          </p:cNvPr>
          <p:cNvGrpSpPr>
            <a:grpSpLocks/>
          </p:cNvGrpSpPr>
          <p:nvPr/>
        </p:nvGrpSpPr>
        <p:grpSpPr>
          <a:xfrm>
            <a:off x="7763789" y="3472052"/>
            <a:ext cx="1155126" cy="1155126"/>
            <a:chOff x="0" y="0"/>
            <a:chExt cx="914400" cy="914400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52125012-F247-4D15-8914-FC580FFE0AD6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81E7E8A3-DE38-4F60-BBB2-F909240BB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/>
            <a:srcRect/>
            <a:stretch/>
          </p:blipFill>
          <p:spPr>
            <a:xfrm>
              <a:off x="93507" y="93508"/>
              <a:ext cx="727385" cy="727385"/>
            </a:xfrm>
            <a:prstGeom prst="rect">
              <a:avLst/>
            </a:prstGeom>
          </p:spPr>
        </p:pic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37B1E12A-C5B5-47B6-B242-1CAB218B1E1B}"/>
              </a:ext>
            </a:extLst>
          </p:cNvPr>
          <p:cNvGrpSpPr>
            <a:grpSpLocks/>
          </p:cNvGrpSpPr>
          <p:nvPr/>
        </p:nvGrpSpPr>
        <p:grpSpPr>
          <a:xfrm>
            <a:off x="7763789" y="4860926"/>
            <a:ext cx="1155126" cy="1155126"/>
            <a:chOff x="0" y="0"/>
            <a:chExt cx="914400" cy="914400"/>
          </a:xfrm>
        </p:grpSpPr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4A5342FB-B7C4-4B92-8805-5ED0ABA84AA5}"/>
                </a:ext>
              </a:extLst>
            </p:cNvPr>
            <p:cNvSpPr/>
            <p:nvPr/>
          </p:nvSpPr>
          <p:spPr>
            <a:xfrm>
              <a:off x="0" y="0"/>
              <a:ext cx="914400" cy="91440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417B2993-4A07-4F69-83B1-19E1F356B8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/>
            <a:srcRect/>
            <a:stretch/>
          </p:blipFill>
          <p:spPr>
            <a:xfrm>
              <a:off x="93507" y="93507"/>
              <a:ext cx="727385" cy="727385"/>
            </a:xfrm>
            <a:prstGeom prst="rect">
              <a:avLst/>
            </a:prstGeom>
          </p:spPr>
        </p:pic>
      </p:grpSp>
      <p:sp>
        <p:nvSpPr>
          <p:cNvPr id="102" name="TextBox 101">
            <a:extLst>
              <a:ext uri="{FF2B5EF4-FFF2-40B4-BE49-F238E27FC236}">
                <a16:creationId xmlns:a16="http://schemas.microsoft.com/office/drawing/2014/main" id="{D787ABE4-591D-4234-AF44-629EED51ADBF}"/>
              </a:ext>
            </a:extLst>
          </p:cNvPr>
          <p:cNvSpPr txBox="1"/>
          <p:nvPr/>
        </p:nvSpPr>
        <p:spPr>
          <a:xfrm>
            <a:off x="360000" y="2013045"/>
            <a:ext cx="14807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400"/>
              <a:t>Tusind tons</a:t>
            </a:r>
          </a:p>
        </p:txBody>
      </p:sp>
    </p:spTree>
    <p:extLst>
      <p:ext uri="{BB962C8B-B14F-4D97-AF65-F5344CB8AC3E}">
        <p14:creationId xmlns:p14="http://schemas.microsoft.com/office/powerpoint/2010/main" val="24236393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GotBl96lDXhBVteWE1e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roman\AppData\Local\Templafy\AddIns\PowerPointVsto\6d1e9fff-44a6-45cb-a286-1b19b712cd19.jp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KKpVluEezMKaud1wSYk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D95G_BtAPAzX2yvvzyN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.ohGOeJtsioqaQsM35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8pdx7w1bgjTAids1lJ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uW4DX_8Htl9pjh0l5GC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hbbqQHMO1DOqh3INNcW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AEvMWlMb62ZsJol3DSu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GIFGPLofthzuo4gyZiM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zrQunThRzOHXUEMS9WK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nZf8KiWMS7phyx8eGC5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psoPKzPW_ZpxjLaxdpU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i0pjNMObPDk5b_1514X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1clvO2NBQDgQzfquK_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K2x2ds_VK1BVZ3otTe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731rNYu6HcOwuE19FW7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9ITEpz2vIDQVJDgxuEn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nnxGPsKRKUZWscOoNie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c5DZKWPPsNXJYHjMpwl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0sYgSWa1BhTIY.5y9ap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RTerHoTovXq7C1xsupU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5iOuuFwqdqiEvaNHqyr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gXfguL2Odm0XzwXRoWU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1IJPZeF5_WXO64mJ81U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ifwKhQ65Kcc1oNv0s5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lPFHL8XjrWVnkaDBWb3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QWufo7fpqfOW3SV6DH0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M8m58hiRGdFlq8W_FT5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eRgsRX6QVoj48J8i4xY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LCI.UMqISoc49CT_fB_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6cLfjnrpyGZiTBQqVV0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zHPTPpMM39S.dvTm4vW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gcACLRwyUsN86DUKgS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qqSP_YHkBsJjGceIZeX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eMldayJOAWls4JgQgC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h1rDPIe4lxyFV2ksTfa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I.55Ht4fMnzK5nOxHSE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BFqSuoRt.uV12sHZLYX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o4mp_ieSVFeVfl8aYyc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6j2OvJKYFf4ee36Kj2Q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wxdI9LR7.aBko8en8uI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eJhxHYnZAi5vRFxiMKw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v0j0i6ETCLxSbomHmd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mUgq5.Cq3wV7vTwPSg5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rzLCox7CbGxr8qyYEe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Y2.PD7PqG.70bY9_Ves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zEq03NdoAK8RJLgvYAA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p46j9ufyv4srwFUE.W1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ASt2thVIszaRlzspzEg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AX2QaCLm2hKZijj8ze8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KunyenOe77qxwTZ049o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FkDSxKm4Z8g7HWWNxR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zguuIjHlUV3SZNyNfr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GpPZe0mLwHfY4pz0Zje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1KxXaV.egKWnS_viFM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r0LcVamGCzefHRbK2pD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keaBq4iKfVAnS8rIObM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LDO1vQID3ujfrobOjb5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Sxcg6kjjlhwyH7cARmp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.Ujf87cYc6AfJD8nxzX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YhX30R2epUSBFe2WfNk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YqF4igXDV8eHjtzME2b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ZLS0yYwz.Aytl2iVs6U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YM7ikNifB2kmzAZ8417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CoL0tMVo5Rsc3gQ.A_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WnSu.LuPQFNf5zS2hsL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cOfoiB1Fbu6Yr40gb3F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6ScP7pBC6PC1qbsDSEM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AX1mOEtcAa1DqpAJWSF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1Rif49NLPHKhFQ7ZQyT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77rtHgs3xg0D.hPPmqh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rplJkPHLGH0i7jqMSXN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NWtIPwMUuHMCp4eM3NB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od89Y73ZzFZizDrfd9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wrwaNuRMdyw5uVw0lkF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P_PZJT8czudatgvhZkI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7QP1Do0ctnMZPaLFOHE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VenEGrRjSDmaNsESD.n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WM61jV0odIBFukKqsl4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WRrC09KIKGUa9PRqut_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rrp.mMAZTKbcq4TVhoV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PyczcXe_U7wAQ7BNbn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xZZIN8k_X1nqMQ2ZIvH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0iZrCDwVwNs3HWLXuvq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fbOcNRBU3_TlgZPr.yz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Kx3aGEBYpQ5JMGdmJeg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12gJYYtYtqJpqp3vojw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C_3yPXFwPf1Aks_ddIH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ijZS1PuXlOe.tz0B9j1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buw6V9e1nzzgNp5I7UK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AzdooYQP7kPiYjslB53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kNp8ynQSinKc.GKt8E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IZj47DS9twjkUKIY9KB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9Nzu1vugR8oWaYRpKMx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2j.o4YS8_U5xe6xNa03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1SpLjKA1kuy8cgYaZXp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_elusUeLo8TOls0PG8n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KDiPliuQsLN4CgFnjL_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gwHZWsRhIv2nOWW1vba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I29HU53sj7jQu5KvnYM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91i6pRLe4IjTGDHx0Xy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9Itv.CeEnBtBhBvY5M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wHO19fTX7Eo10GDMQiK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uEjfFc_4h9IgtRNtsph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YWstjjPTnZAY8193DoO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kigRc7RBghTmimxq7sV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1y_H0dbAogemPy1Qb0k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5SwcNuvUuxYkjPlwAbv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q_gAsXmoDrR8CJnLfjq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7RhFq4xVrVrs2QRvd9Z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Z6tMRRh3MzoiAEIjC.s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vvhrpo3bC0OCZZqd9DV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4IHCPbC9eswFUMmVQy8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H47lNuTDra9GSvEPXNP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2Ts3YJ9qDRmPsfziAEs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zlEkEt8zQydyolgppl4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0wnM.HYRiBHjfkL8Z_K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_ACFB1A1772xmDADwVn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b_dXxl1jr5t7IDgLhIH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145pDmnCn1PJCyjYlLv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ZnXoHxEOK60zTpDUpp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dTrU7_yRklzifDMjUyy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fgHl2rlWdvukrC3q0Mu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gRMFY.xEcPH2FU5RR4B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U2LOI_scr07zihRsG7W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4hCKFqRk0DGbqZIS.o9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HzlaX12cU1pC77XYwnQ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h0eodLdSHX3T3AzJn0E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6hg_O1bb.ViLYKoCJ5C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3uR1Th0w8cbjDOMg7FF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i8R.Avk9kTGGtU.B7d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8eHKZlhkg_GaMG4.xIw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w_uelcwzN1ZgScrcTFf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RzdefZ7A0j7FCzNWo9c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g5Owb0GexOrlJ5KEs5P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.iFIFIgVat_JJE.iqVr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mc2yp2DWv_HNOGMyc7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.UGi8xD3BrXK6PxdFvv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q0dC9UgCCeQtuThPjDp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l7zgO3fgg92LlV98u7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NpOet6ud2P_qn.nFSy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nkdZRVeNyfxm2pRzmrn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PAj8UNyvYUoLZsSywus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naf.uXKTh0215l0b4a3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xeZslUZQDqKedj8gmQw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S64uSxkdv0ioSwM0dsJ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rVlhT0mHdE52m.gn7U_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SCUuBVIqtmslNoNfBZb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ebO6JdJgxQBjMas7nIQ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h7aFoe5qzDaYzrbeMF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1Rpx72Lv001DvgFooD7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.q0luTv10BNef8y7IDK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ewr_ZyOkS5jp3Gh0nfV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7n7oLp60H5CJzgm6xL.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dXTJSKh8vO0yjmwKtWj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YMgGPQLE_H.hv0gnpd.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pL0pUahPoy4NRgUrKiw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JfngxodKYb7MFwyETm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Si61yPtN_xv7_F53.sc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Kayqs370lF0gn.xUB6_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xCTRMjcUU45iu6WRT9Z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CEAxpa1u1McqoZsDkJ4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L_1hm7E98QsF_ei8N9x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6ORsgXVP2I5tRfk3w6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PR67_BGiZn9fIvGklfK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foyDkWhfYabGv3KZxku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srqZU3dwvXUQ1lKwje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ccrsUjnVhYa4LyAwL43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vEOY.okr84RNaAXXVX4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2GT2gxjaTcRf.d6bTN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h6Zb.4MyZ2qMOyKT4RK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wE5nrzyg58jH_4ci1o8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RD3vz1y1E7mPkAvcYvC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lc4G8YbzkTD2o8gNSbC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pTuCPsohdSgqUuzKuvH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lSNwY2_FM2LMEK5oEAk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X_DoECwgQf9lvjgjVGj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VtywXTiB.4dyHLktXW9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_iY1Oae3Pekwlu6TooJ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DBpgFjGxJtajx7SQlIv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nAYm5XQy6f.ieO4AXJn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7WyBA1l6v7vPchTGK7v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y7QVb2tF1Ix3nbGLhrx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tkLw9OpbKQnvIaUbFzH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SxDmxqAyEIUyhdJP7XD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.fgzgiEFLur8NnNoU2E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Qv2Yn5FSFnL9H09ODJD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LJeIOK3yIfPJzf_WME6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1LhOteP_FSFAFCZDvb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ie3vGdCDlGyE_rbGaeh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ALzUFSCXK0pF_pvWK7n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8uxJ96lQwWWnea8l8Wv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kzuGqQiojk9P99oSaRn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E8QDxGdEB2K20DrvBxX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S61EU5SXenIkdUmuDOL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uMOpMCsUd0F8D72CQ2v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1RVgwRSYB2WJ45z5E_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Pgq8scT7cl.EXWKDdwI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XlvPj9_s3dRw49cOMK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gtccQpCI_TXJ5j7Pm5G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HLEZFSOcTgZx9z0AjRl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9.qx8NkenRS0qAmCYco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bMMtaDmGAc9bUGIbSfz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OiqFWujnm0jrefTV1r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OcSbVkHIp9OOZnCyRC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SZIL7jldZ2F82GIDRV7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LEc.kkwLjcUgccBzOo0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oSmhGCKnOCzOTB7.sk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ueTi2BybhD_7JAcdOq6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3urmbrzdIIgc5LCYaSH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CajMbDfwqg5XE.PTN47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XzXTUH7K_iKa0kEBdfd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oJmp1SQpGUuTtIEMDVC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h1XK3ULkIIPaoAKDJAj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4GLlqPdWPxzu7MsxBW2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ZKoG9P_8mA0yndI5fQg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_mR2cT9FcqJxNd09qc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Ysc0D99rlyKghKo7to9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Jx_rMZ6d7WJBrV2.rW5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UfBGJfpChzDecPk1_vU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glKxD6SARB.l5eU116.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u6IUcG0_9maQo37EwjP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2Bsn1gCTUonOVNEkIF8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PfzqY3YXw54VTVKenMV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BTmynO5FIcp8IzQPxDEw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zcQyl8QOe1CEOl8Ib48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58Ok_pJl8IWFIHKuzda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UdKaLKQ57D6wGaE47pY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TlFcIUYnJi9KLiGHL2e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E.hMlL1824nkDqwtiJv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b6f_oah4.4SKujQJVL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4XmSMdWApWB59LAOhNG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RRUBApVkr1LkCBg.Qpn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Va_hkpbVkS3vjguI0Pj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T887ECMZs0HtpSm16b1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_AClQQ22Ar44kqTaA.w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Tzpaqc.sMI230DKX4E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JmS9S13MWA_0mR3SODe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CPg86ofuj4hEpTtWFbw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e8wgZ.7fxEaUBlUEV1s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3WcRW50WARDzT6H_u8U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l8TQX.JwcniBfpEGai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_d9ukvpnnQHEIAbD66R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d3BCSaPPszcb.g.Hu_A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rRXJm92PKD1xfKdEJYp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g87d3voGa1nCq0ftH8M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aM_6TWE4qvi7p.c4q5r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5.IGq6jze4T2XOKJWWS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4ILLImFweJfLVc6u5Ex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NEboOiaMKhatf5QAtyI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c5r3EwwwXAk_3.gsQKI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aAAwJkNfu1g5kyX1h0H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ImUa5IgZ1E2ifc2BMsB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cjOi7cnVhuxgl.KYPEC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_G8h4D2l4tlcI6gxuYW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svj1L2C6aaxvhrMu8h1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gg.4DuYLx.3wmj1NC70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R4ysqqpiEHWTdLpYz2X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Cc3z2gH321KIULgG4pj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rIJqlHYmlok.Zk3u.0g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b5XKPQXxSt9oZbwjT1r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yAVQ1__e4CicWtUfpm6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qnhRhekKEDl_nnqLxb4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5fhq5DA9KUG9TL6fqiY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p3vcl7m5.fZc1T3v0oo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FOdFnolyNJvK_bb1Oy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xqdBDnH6r4b6L.MV4x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gBHO2CKWzZ9dnB2j9eu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Ko1yukauUHXE6.dVl7l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8CiIV4kLbWhpBtqj4IT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Uszly.rLWeFF.QPKTsd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4ANcoFZNPBkUg0qhlwb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fdL0bQ3oqoeZG4SOK6D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tbFHKfZ.FFAdQJ.Ag9s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JdeT_LaZtehh3CX20oE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Wq4lhbRqW9I5s9EAnC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HG_vXBovxkD1TyCC.tL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Kfk7KaBqoRSbtOpDul7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lhn_S29rR_oe5zGg5Ru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O6ZUxCdmYa1RKwoDztw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E5giS4Be1ffLz39sQa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Blank.potx" id="{3D84172B-BC32-4829-9946-B47AC54719B7}" vid="{B0B1BEF7-9251-4B00-8C03-BD9B8A7F23A0}"/>
    </a:ext>
  </a:extLst>
</a:theme>
</file>

<file path=ppt/theme/theme2.xml><?xml version="1.0" encoding="utf-8"?>
<a:theme xmlns:a="http://schemas.openxmlformats.org/drawingml/2006/main" name="1_Blank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Blank.potx" id="{3D84172B-BC32-4829-9946-B47AC54719B7}" vid="{B0B1BEF7-9251-4B00-8C03-BD9B8A7F23A0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02E5461CA6AF47B8A66B3380B20537" ma:contentTypeVersion="12" ma:contentTypeDescription="Create a new document." ma:contentTypeScope="" ma:versionID="b2da997a221d5e8900d23a0c3d73cc1f">
  <xsd:schema xmlns:xsd="http://www.w3.org/2001/XMLSchema" xmlns:xs="http://www.w3.org/2001/XMLSchema" xmlns:p="http://schemas.microsoft.com/office/2006/metadata/properties" xmlns:ns2="ed0b581e-6675-4b0a-9303-7787d36196d8" xmlns:ns3="da829de5-f360-4721-bd82-2529385b5f73" targetNamespace="http://schemas.microsoft.com/office/2006/metadata/properties" ma:root="true" ma:fieldsID="3647d6783e91ed9213cf0aabbb251a4a" ns2:_="" ns3:_="">
    <xsd:import namespace="ed0b581e-6675-4b0a-9303-7787d36196d8"/>
    <xsd:import namespace="da829de5-f360-4721-bd82-2529385b5f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0b581e-6675-4b0a-9303-7787d36196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2a0716b9-ea6c-4544-a4bd-65ac324c60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829de5-f360-4721-bd82-2529385b5f7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466063e8-cbde-4a15-8495-3f47f5cae307}" ma:internalName="TaxCatchAll" ma:showField="CatchAllData" ma:web="da829de5-f360-4721-bd82-2529385b5f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a829de5-f360-4721-bd82-2529385b5f73" xsi:nil="true"/>
    <lcf76f155ced4ddcb4097134ff3c332f xmlns="ed0b581e-6675-4b0a-9303-7787d36196d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878C423-549D-4C55-8970-7DCE6F399D19}">
  <ds:schemaRefs>
    <ds:schemaRef ds:uri="da829de5-f360-4721-bd82-2529385b5f73"/>
    <ds:schemaRef ds:uri="ed0b581e-6675-4b0a-9303-7787d36196d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D9FF928-A619-4FAD-AAEA-ED8FA75FD6A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2216B1-0F19-4B55-86F9-6F1196262AE8}">
  <ds:schemaRefs>
    <ds:schemaRef ds:uri="http://purl.org/dc/terms/"/>
    <ds:schemaRef ds:uri="http://schemas.microsoft.com/office/2006/documentManagement/types"/>
    <ds:schemaRef ds:uri="ed0b581e-6675-4b0a-9303-7787d36196d8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da829de5-f360-4721-bd82-2529385b5f7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6</TotalTime>
  <Words>1006</Words>
  <Application>Microsoft Office PowerPoint</Application>
  <PresentationFormat>Widescreen</PresentationFormat>
  <Paragraphs>322</Paragraphs>
  <Slides>13</Slides>
  <Notes>13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3</vt:i4>
      </vt:variant>
    </vt:vector>
  </HeadingPairs>
  <TitlesOfParts>
    <vt:vector size="18" baseType="lpstr">
      <vt:lpstr>Arial</vt:lpstr>
      <vt:lpstr>Verdana</vt:lpstr>
      <vt:lpstr>Blank</vt:lpstr>
      <vt:lpstr>1_Blank</vt:lpstr>
      <vt:lpstr>think-cell Slide</vt:lpstr>
      <vt:lpstr>Analyse af behovet for en havneudvidelse  Aarhus Havn  5. januar 2023</vt:lpstr>
      <vt:lpstr>Analysen tager udgangspunkt i Aarhus Havns fremtidige konkurrenceevne</vt:lpstr>
      <vt:lpstr>95% af arealerne på Aarhus Havn er udlejet</vt:lpstr>
      <vt:lpstr>Containergods udgør den største og hurtigst voksende godstype på Aarhus Havn</vt:lpstr>
      <vt:lpstr>Tre primære konkurrenter, som alle forbereder sig på øgede godsmængder </vt:lpstr>
      <vt:lpstr>Forventet stigning inden for alle godstyper - størst stigning inden for containertrafik</vt:lpstr>
      <vt:lpstr>Aarhus Havn har ramt fuld kapacitet på containertrafik, som de seneste 20 år er vokset 4,2% årligt</vt:lpstr>
      <vt:lpstr>Fast bulk kunder har brug for specifikke arealer for at kunne håndtere deres gods</vt:lpstr>
      <vt:lpstr>Flydende bulk kan være essentielt i omstillingen til fremtidens grønnere havn</vt:lpstr>
      <vt:lpstr>Ro-Ro* kan være et fleksibel område til at understøtte fremtidig vækst</vt:lpstr>
      <vt:lpstr>Der vil være et behov for en udvidelse af Aarhus Havn i alle scenarier</vt:lpstr>
      <vt:lpstr>De tre scenarier bygger på forventede vækstrater, hvor basis scenariet forventes at være det mest sandsynlige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ura Bowler</dc:creator>
  <cp:lastModifiedBy>Nadja Juul Christiansen</cp:lastModifiedBy>
  <cp:revision>3</cp:revision>
  <cp:lastPrinted>2021-11-30T16:37:16Z</cp:lastPrinted>
  <dcterms:created xsi:type="dcterms:W3CDTF">2021-11-05T11:39:19Z</dcterms:created>
  <dcterms:modified xsi:type="dcterms:W3CDTF">2023-01-13T10:3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02E5461CA6AF47B8A66B3380B20537</vt:lpwstr>
  </property>
  <property fmtid="{D5CDD505-2E9C-101B-9397-08002B2CF9AE}" pid="3" name="Order">
    <vt:lpwstr>1600.00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  <property fmtid="{D5CDD505-2E9C-101B-9397-08002B2CF9AE}" pid="10" name="MediaServiceImageTags">
    <vt:lpwstr/>
  </property>
</Properties>
</file>